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</p:sldMasterIdLst>
  <p:notesMasterIdLst>
    <p:notesMasterId r:id="rId9"/>
  </p:notesMasterIdLst>
  <p:sldIdLst>
    <p:sldId id="263" r:id="rId5"/>
    <p:sldId id="470" r:id="rId6"/>
    <p:sldId id="471" r:id="rId7"/>
    <p:sldId id="472" r:id="rId8"/>
  </p:sldIdLst>
  <p:sldSz cx="9144000" cy="5143500" type="screen16x9"/>
  <p:notesSz cx="6794500" cy="99822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4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0" autoAdjust="0"/>
    <p:restoredTop sz="96395" autoAdjust="0"/>
  </p:normalViewPr>
  <p:slideViewPr>
    <p:cSldViewPr snapToGrid="0" showGuides="1">
      <p:cViewPr varScale="1">
        <p:scale>
          <a:sx n="139" d="100"/>
          <a:sy n="139" d="100"/>
        </p:scale>
        <p:origin x="246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457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9" d="100"/>
          <a:sy n="119" d="100"/>
        </p:scale>
        <p:origin x="-4452" y="-60"/>
      </p:cViewPr>
      <p:guideLst>
        <p:guide orient="horz" pos="3144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4283" cy="50084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48645" y="0"/>
            <a:ext cx="2944283" cy="50084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32AFA7-AA8E-4CC1-9302-2D6C13FF3C7E}" type="datetimeFigureOut">
              <a:rPr lang="de-DE" smtClean="0"/>
              <a:t>14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95250" y="674688"/>
            <a:ext cx="6985000" cy="3929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58270" y="5149809"/>
            <a:ext cx="6313720" cy="393049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9481358"/>
            <a:ext cx="2944283" cy="5008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48645" y="9481358"/>
            <a:ext cx="2944283" cy="5008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CEAD50-6332-4EBB-B1D7-79E33ACC64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0833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685800" rtl="0" eaLnBrk="1" latinLnBrk="0" hangingPunct="1">
      <a:buClr>
        <a:schemeClr val="tx1"/>
      </a:buClr>
      <a:buSzPct val="80000"/>
      <a:buFont typeface="Wingdings" panose="05000000000000000000" pitchFamily="2" charset="2"/>
      <a:buNone/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685800" rtl="0" eaLnBrk="1" latinLnBrk="0" hangingPunct="1">
      <a:spcBef>
        <a:spcPts val="600"/>
      </a:spcBef>
      <a:buClr>
        <a:schemeClr val="tx1"/>
      </a:buClr>
      <a:buSzPct val="80000"/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685800" rtl="0" eaLnBrk="1" latinLnBrk="0" hangingPunct="1">
      <a:spcBef>
        <a:spcPts val="600"/>
      </a:spcBef>
      <a:buSzPct val="80000"/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685800" rtl="0" eaLnBrk="1" latinLnBrk="0" hangingPunct="1">
      <a:spcBef>
        <a:spcPts val="600"/>
      </a:spcBef>
      <a:buSzPct val="80000"/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685800" rtl="0" eaLnBrk="1" latinLnBrk="0" hangingPunct="1">
      <a:spcBef>
        <a:spcPts val="600"/>
      </a:spcBef>
      <a:buSzPct val="80000"/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5250" y="674688"/>
            <a:ext cx="6985000" cy="3930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noProof="0" smtClean="0"/>
              <a:t>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6679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95250" y="674688"/>
            <a:ext cx="6985000" cy="39306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lang="de-DE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:</a:t>
            </a:r>
            <a:r>
              <a:rPr lang="de-DE" baseline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de-DE" baseline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H - </a:t>
            </a:r>
            <a:r>
              <a:rPr lang="de-DE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 fair, Innovation Awards, Community </a:t>
            </a:r>
            <a:r>
              <a:rPr lang="de-DE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ing</a:t>
            </a:r>
            <a:r>
              <a:rPr lang="de-DE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sletter</a:t>
            </a:r>
            <a:endParaRPr lang="de-DE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CEAD50-6332-4EBB-B1D7-79E33ACC646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323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70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85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7200"/>
              </a:lnSpc>
              <a:spcBef>
                <a:spcPct val="0"/>
              </a:spcBef>
              <a:spcAft>
                <a:spcPct val="0"/>
              </a:spcAft>
            </a:pPr>
            <a:endParaRPr lang="de-DE" sz="7000" b="0" i="0" baseline="0" dirty="0"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86C2F59-F5B8-9440-B043-3347910E77C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03999" y="1654026"/>
            <a:ext cx="6120000" cy="1879745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ts val="7200"/>
              </a:lnSpc>
              <a:defRPr sz="7000" spc="-40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Lufthansa</a:t>
            </a:r>
            <a:br>
              <a:rPr lang="de-DE" noProof="0" dirty="0"/>
            </a:br>
            <a:r>
              <a:rPr lang="de-DE" noProof="0" dirty="0"/>
              <a:t>Office Head 70</a:t>
            </a:r>
          </a:p>
        </p:txBody>
      </p:sp>
      <p:sp>
        <p:nvSpPr>
          <p:cNvPr id="10" name="Textplatzhalter 9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04000" y="1080000"/>
            <a:ext cx="2540760" cy="384721"/>
          </a:xfrm>
        </p:spPr>
        <p:txBody>
          <a:bodyPr wrap="none" anchor="b">
            <a:spAutoFit/>
          </a:bodyPr>
          <a:lstStyle>
            <a:lvl1pPr>
              <a:lnSpc>
                <a:spcPts val="3040"/>
              </a:lnSpc>
              <a:defRPr sz="23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Overline</a:t>
            </a:r>
            <a:r>
              <a:rPr lang="de-DE" dirty="0"/>
              <a:t> (optional)</a:t>
            </a:r>
          </a:p>
        </p:txBody>
      </p:sp>
      <p:sp>
        <p:nvSpPr>
          <p:cNvPr id="18" name="Datumsplatzhalter 1"/>
          <p:cNvSpPr>
            <a:spLocks noGrp="1"/>
          </p:cNvSpPr>
          <p:nvPr userDrawn="1">
            <p:ph type="dt" sz="half" idx="15"/>
          </p:nvPr>
        </p:nvSpPr>
        <p:spPr bwMode="gray">
          <a:xfrm>
            <a:off x="504000" y="3663923"/>
            <a:ext cx="1346522" cy="153888"/>
          </a:xfrm>
        </p:spPr>
        <p:txBody>
          <a:bodyPr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F97216EB-B3CD-4F4A-8837-EE9030407EAA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sz="quarter" idx="20" hasCustomPrompt="1"/>
          </p:nvPr>
        </p:nvSpPr>
        <p:spPr bwMode="gray">
          <a:xfrm>
            <a:off x="504000" y="3804773"/>
            <a:ext cx="2160000" cy="153888"/>
          </a:xfr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Name, </a:t>
            </a:r>
            <a:r>
              <a:rPr lang="de-DE" dirty="0" err="1"/>
              <a:t>place</a:t>
            </a:r>
            <a:r>
              <a:rPr lang="de-DE" dirty="0"/>
              <a:t> (optional)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308EA77-3BC6-4D0C-9206-8E600942E667}"/>
              </a:ext>
            </a:extLst>
          </p:cNvPr>
          <p:cNvGrpSpPr/>
          <p:nvPr userDrawn="1"/>
        </p:nvGrpSpPr>
        <p:grpSpPr>
          <a:xfrm>
            <a:off x="-271463" y="-271462"/>
            <a:ext cx="9686562" cy="5716192"/>
            <a:chOff x="-271463" y="-271462"/>
            <a:chExt cx="9686562" cy="5716192"/>
          </a:xfrm>
        </p:grpSpPr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62AC864F-2DB9-4500-A0D9-5AF3E9C2B1C4}"/>
                </a:ext>
              </a:extLst>
            </p:cNvPr>
            <p:cNvCxnSpPr/>
            <p:nvPr userDrawn="1"/>
          </p:nvCxnSpPr>
          <p:spPr>
            <a:xfrm>
              <a:off x="-271463" y="165258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8044AB29-954D-4B35-B23C-3E654C8BE853}"/>
                </a:ext>
              </a:extLst>
            </p:cNvPr>
            <p:cNvCxnSpPr/>
            <p:nvPr userDrawn="1"/>
          </p:nvCxnSpPr>
          <p:spPr>
            <a:xfrm>
              <a:off x="-271463" y="365678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12F8AE5-1AC1-4E7E-A19E-DB9841C3F993}"/>
                </a:ext>
              </a:extLst>
            </p:cNvPr>
            <p:cNvCxnSpPr/>
            <p:nvPr userDrawn="1"/>
          </p:nvCxnSpPr>
          <p:spPr>
            <a:xfrm>
              <a:off x="-271463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82DFC766-DD26-4E8E-B070-325327593756}"/>
                </a:ext>
              </a:extLst>
            </p:cNvPr>
            <p:cNvCxnSpPr/>
            <p:nvPr userDrawn="1"/>
          </p:nvCxnSpPr>
          <p:spPr>
            <a:xfrm>
              <a:off x="-271463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CBF69259-8E49-462C-89E6-0BB0F98E3172}"/>
                </a:ext>
              </a:extLst>
            </p:cNvPr>
            <p:cNvCxnSpPr/>
            <p:nvPr userDrawn="1"/>
          </p:nvCxnSpPr>
          <p:spPr>
            <a:xfrm>
              <a:off x="-271463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AD3CF94C-EB1A-436E-A565-16533F72E27F}"/>
                </a:ext>
              </a:extLst>
            </p:cNvPr>
            <p:cNvCxnSpPr/>
            <p:nvPr userDrawn="1"/>
          </p:nvCxnSpPr>
          <p:spPr>
            <a:xfrm>
              <a:off x="-271463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B7086C90-B25F-4990-84B4-DC4A4DBBC889}"/>
                </a:ext>
              </a:extLst>
            </p:cNvPr>
            <p:cNvCxnSpPr/>
            <p:nvPr userDrawn="1"/>
          </p:nvCxnSpPr>
          <p:spPr>
            <a:xfrm>
              <a:off x="-271463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1A81EF99-0E06-4672-B36E-DA6E5A7258B5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398069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A547D610-C337-43EE-AF96-4A89AD295883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4473575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203ED0D8-B6FA-4D9A-A932-E02326F848E2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689611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688800F9-7DC5-425E-B64E-BFDAE67254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365678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444D222-3505-4DA8-A210-A12D4FF0F6E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165258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5B149B91-759D-4D50-A820-052FDB407B8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7413F526-F7D3-44D0-95F1-9F968CFD806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B8BFA06B-AB2A-4FF9-AC63-929D46DE1CD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243F981-4388-45AB-81E3-6B0F203C8E4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551AD77B-2EE1-4CE2-B06F-8875AA99980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EACD3191-4839-4204-BE2F-4C7DC2DF2809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8689973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24A52E62-4AE5-44F7-9E50-53429625369D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4473211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D38FBAD3-4AC3-4953-A25A-CECF67153270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398069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BF27403-76BA-4945-8508-310F07FBBA67}"/>
                </a:ext>
              </a:extLst>
            </p:cNvPr>
            <p:cNvCxnSpPr/>
            <p:nvPr userDrawn="1"/>
          </p:nvCxnSpPr>
          <p:spPr>
            <a:xfrm>
              <a:off x="-271463" y="39608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F74C6370-1A66-4066-BC0F-40999C107AD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39608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152EB7BB-595E-4AC9-A848-1432189E14BD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256813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90F4E754-C579-4381-AF75-28F59CA873C1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257175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DAD5D70E-371F-42C3-B367-CAFC40770096}"/>
                </a:ext>
              </a:extLst>
            </p:cNvPr>
            <p:cNvCxnSpPr/>
            <p:nvPr userDrawn="1"/>
          </p:nvCxnSpPr>
          <p:spPr>
            <a:xfrm>
              <a:off x="-271463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B16D5619-1575-427A-9B33-96C153D4A2E9}"/>
                </a:ext>
              </a:extLst>
            </p:cNvPr>
            <p:cNvCxnSpPr/>
            <p:nvPr userDrawn="1"/>
          </p:nvCxnSpPr>
          <p:spPr>
            <a:xfrm>
              <a:off x="-271463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8392B7C-CAE4-456B-A626-28AB8193B34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7E7BCD65-1F4F-4E46-A55E-147B57E621FD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9" name="Gerader Verbinder 38"/>
          <p:cNvCxnSpPr/>
          <p:nvPr userDrawn="1"/>
        </p:nvCxnSpPr>
        <p:spPr>
          <a:xfrm>
            <a:off x="355237" y="838557"/>
            <a:ext cx="8784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 userDrawn="1"/>
        </p:nvCxnSpPr>
        <p:spPr>
          <a:xfrm>
            <a:off x="715237" y="884169"/>
            <a:ext cx="842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73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3" userDrawn="1">
          <p15:clr>
            <a:srgbClr val="FBAE40"/>
          </p15:clr>
        </p15:guide>
        <p15:guide id="3" orient="horz" pos="1041" userDrawn="1">
          <p15:clr>
            <a:srgbClr val="FBAE40"/>
          </p15:clr>
        </p15:guide>
        <p15:guide id="4" orient="horz" pos="2304" userDrawn="1">
          <p15:clr>
            <a:srgbClr val="FBAE40"/>
          </p15:clr>
        </p15:guide>
        <p15:guide id="5" orient="horz" pos="2495" userDrawn="1">
          <p15:clr>
            <a:srgbClr val="FBAE40"/>
          </p15:clr>
        </p15:guide>
        <p15:guide id="9" orient="horz" pos="67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iv Contents, 3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710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32221C14-7A1D-4131-93E4-7BFCEE7438A8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6" name="Inhaltsplatzhalter 9">
            <a:extLst>
              <a:ext uri="{FF2B5EF4-FFF2-40B4-BE49-F238E27FC236}">
                <a16:creationId xmlns:a16="http://schemas.microsoft.com/office/drawing/2014/main" id="{9B830681-7DA2-44B2-8D3B-D2BC19C6EC74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360000" y="1079999"/>
            <a:ext cx="2700000" cy="3420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7" name="Inhaltsplatzhalter 9">
            <a:extLst>
              <a:ext uri="{FF2B5EF4-FFF2-40B4-BE49-F238E27FC236}">
                <a16:creationId xmlns:a16="http://schemas.microsoft.com/office/drawing/2014/main" id="{1BCBD335-88BF-4F91-87F2-3EF106756B28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3221818" y="1079999"/>
            <a:ext cx="2700000" cy="3420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8" name="Inhaltsplatzhalter 9">
            <a:extLst>
              <a:ext uri="{FF2B5EF4-FFF2-40B4-BE49-F238E27FC236}">
                <a16:creationId xmlns:a16="http://schemas.microsoft.com/office/drawing/2014/main" id="{6D63DB60-D9CC-451F-84B8-CD8696EECF21}"/>
              </a:ext>
            </a:extLst>
          </p:cNvPr>
          <p:cNvSpPr>
            <a:spLocks noGrp="1"/>
          </p:cNvSpPr>
          <p:nvPr>
            <p:ph sz="quarter" idx="22"/>
          </p:nvPr>
        </p:nvSpPr>
        <p:spPr bwMode="gray">
          <a:xfrm>
            <a:off x="6083637" y="1079999"/>
            <a:ext cx="2700000" cy="3420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85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 Columns Infobox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902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8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50117E69-BA8C-4BF0-BF89-A9968A8C9419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1" name="Inhaltsplatzhalter 9">
            <a:extLst>
              <a:ext uri="{FF2B5EF4-FFF2-40B4-BE49-F238E27FC236}">
                <a16:creationId xmlns:a16="http://schemas.microsoft.com/office/drawing/2014/main" id="{0E6E5E20-6F7D-48F7-90F6-6EB01EC1677D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360000" y="1471380"/>
            <a:ext cx="2700000" cy="3029237"/>
          </a:xfrm>
          <a:solidFill>
            <a:schemeClr val="accent5"/>
          </a:solidFill>
        </p:spPr>
        <p:txBody>
          <a:bodyPr wrap="square" lIns="108000" tIns="108000" rIns="108000" bIns="108000">
            <a:noAutofit/>
          </a:bodyPr>
          <a:lstStyle>
            <a:lvl1pPr>
              <a:lnSpc>
                <a:spcPct val="120000"/>
              </a:lnSpc>
              <a:defRPr sz="1100"/>
            </a:lvl1pPr>
            <a:lvl2pPr>
              <a:lnSpc>
                <a:spcPct val="120000"/>
              </a:lnSpc>
              <a:defRPr sz="1100"/>
            </a:lvl2pPr>
            <a:lvl3pPr>
              <a:lnSpc>
                <a:spcPct val="120000"/>
              </a:lnSpc>
              <a:defRPr sz="1100"/>
            </a:lvl3pPr>
            <a:lvl4pPr>
              <a:lnSpc>
                <a:spcPct val="120000"/>
              </a:lnSpc>
              <a:defRPr sz="1100"/>
            </a:lvl4pPr>
            <a:lvl5pPr>
              <a:lnSpc>
                <a:spcPct val="120000"/>
              </a:lnSpc>
              <a:defRPr sz="11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2" name="Inhaltsplatzhalter 9">
            <a:extLst>
              <a:ext uri="{FF2B5EF4-FFF2-40B4-BE49-F238E27FC236}">
                <a16:creationId xmlns:a16="http://schemas.microsoft.com/office/drawing/2014/main" id="{23AC0AC4-658B-4974-9EDB-30BBF7A902BD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3221818" y="1471380"/>
            <a:ext cx="2700000" cy="3029237"/>
          </a:xfrm>
          <a:solidFill>
            <a:schemeClr val="accent5"/>
          </a:solidFill>
        </p:spPr>
        <p:txBody>
          <a:bodyPr wrap="square" lIns="108000" tIns="108000" rIns="108000" bIns="108000">
            <a:noAutofit/>
          </a:bodyPr>
          <a:lstStyle>
            <a:lvl1pPr>
              <a:lnSpc>
                <a:spcPct val="120000"/>
              </a:lnSpc>
              <a:defRPr sz="1100"/>
            </a:lvl1pPr>
            <a:lvl2pPr>
              <a:lnSpc>
                <a:spcPct val="120000"/>
              </a:lnSpc>
              <a:defRPr sz="1100"/>
            </a:lvl2pPr>
            <a:lvl3pPr>
              <a:lnSpc>
                <a:spcPct val="120000"/>
              </a:lnSpc>
              <a:defRPr sz="1100"/>
            </a:lvl3pPr>
            <a:lvl4pPr>
              <a:lnSpc>
                <a:spcPct val="120000"/>
              </a:lnSpc>
              <a:defRPr sz="1100"/>
            </a:lvl4pPr>
            <a:lvl5pPr>
              <a:lnSpc>
                <a:spcPct val="12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9">
            <a:extLst>
              <a:ext uri="{FF2B5EF4-FFF2-40B4-BE49-F238E27FC236}">
                <a16:creationId xmlns:a16="http://schemas.microsoft.com/office/drawing/2014/main" id="{27A5C436-B91A-4B75-8D14-7156C3B6907D}"/>
              </a:ext>
            </a:extLst>
          </p:cNvPr>
          <p:cNvSpPr>
            <a:spLocks noGrp="1"/>
          </p:cNvSpPr>
          <p:nvPr>
            <p:ph sz="quarter" idx="22"/>
          </p:nvPr>
        </p:nvSpPr>
        <p:spPr bwMode="gray">
          <a:xfrm>
            <a:off x="6083637" y="1471380"/>
            <a:ext cx="2700000" cy="3029237"/>
          </a:xfrm>
          <a:solidFill>
            <a:schemeClr val="accent5"/>
          </a:solidFill>
        </p:spPr>
        <p:txBody>
          <a:bodyPr wrap="square" lIns="108000" tIns="108000" rIns="108000" bIns="108000">
            <a:noAutofit/>
          </a:bodyPr>
          <a:lstStyle>
            <a:lvl1pPr>
              <a:lnSpc>
                <a:spcPct val="120000"/>
              </a:lnSpc>
              <a:defRPr sz="1100"/>
            </a:lvl1pPr>
            <a:lvl2pPr>
              <a:lnSpc>
                <a:spcPct val="120000"/>
              </a:lnSpc>
              <a:defRPr sz="1100"/>
            </a:lvl2pPr>
            <a:lvl3pPr>
              <a:lnSpc>
                <a:spcPct val="120000"/>
              </a:lnSpc>
              <a:defRPr sz="1100"/>
            </a:lvl3pPr>
            <a:lvl4pPr>
              <a:lnSpc>
                <a:spcPct val="120000"/>
              </a:lnSpc>
              <a:defRPr sz="1100"/>
            </a:lvl4pPr>
            <a:lvl5pPr>
              <a:lnSpc>
                <a:spcPct val="12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3BB270E-CAA6-4B9F-9F25-435EF2F059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1080000"/>
            <a:ext cx="2699999" cy="360000"/>
          </a:xfrm>
          <a:solidFill>
            <a:schemeClr val="accent1"/>
          </a:solidFill>
        </p:spPr>
        <p:txBody>
          <a:bodyPr wrap="square" lIns="108000" rIns="108000" anchor="ctr" anchorCtr="0">
            <a:noAutofit/>
          </a:bodyPr>
          <a:lstStyle>
            <a:lvl1pPr algn="l">
              <a:defRPr sz="1200" b="1">
                <a:solidFill>
                  <a:schemeClr val="bg1"/>
                </a:solidFill>
                <a:latin typeface="+mj-lt"/>
              </a:defRPr>
            </a:lvl1pPr>
            <a:lvl2pPr>
              <a:defRPr sz="1200" b="1">
                <a:solidFill>
                  <a:schemeClr val="bg1"/>
                </a:solidFill>
                <a:latin typeface="+mj-lt"/>
              </a:defRPr>
            </a:lvl2pPr>
            <a:lvl3pPr>
              <a:defRPr sz="1200" b="1">
                <a:solidFill>
                  <a:schemeClr val="bg1"/>
                </a:solidFill>
                <a:latin typeface="+mj-lt"/>
              </a:defRPr>
            </a:lvl3pPr>
            <a:lvl4pPr>
              <a:defRPr sz="1200" b="1">
                <a:solidFill>
                  <a:schemeClr val="bg1"/>
                </a:solidFill>
                <a:latin typeface="+mj-lt"/>
              </a:defRPr>
            </a:lvl4pPr>
            <a:lvl5pPr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Edi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r>
              <a:rPr lang="de-DE" dirty="0"/>
              <a:t> 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E89B2719-2984-4DDF-89EC-054CF71BED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21819" y="1080000"/>
            <a:ext cx="2699999" cy="360000"/>
          </a:xfrm>
          <a:solidFill>
            <a:schemeClr val="accent1"/>
          </a:solidFill>
        </p:spPr>
        <p:txBody>
          <a:bodyPr wrap="square" lIns="108000" rIns="108000" anchor="ctr" anchorCtr="0">
            <a:noAutofit/>
          </a:bodyPr>
          <a:lstStyle>
            <a:lvl1pPr algn="l">
              <a:defRPr sz="1200" b="1">
                <a:solidFill>
                  <a:schemeClr val="bg1"/>
                </a:solidFill>
                <a:latin typeface="+mj-lt"/>
              </a:defRPr>
            </a:lvl1pPr>
            <a:lvl2pPr>
              <a:defRPr sz="1200" b="1">
                <a:solidFill>
                  <a:schemeClr val="bg1"/>
                </a:solidFill>
                <a:latin typeface="+mj-lt"/>
              </a:defRPr>
            </a:lvl2pPr>
            <a:lvl3pPr>
              <a:defRPr sz="1200" b="1">
                <a:solidFill>
                  <a:schemeClr val="bg1"/>
                </a:solidFill>
                <a:latin typeface="+mj-lt"/>
              </a:defRPr>
            </a:lvl3pPr>
            <a:lvl4pPr>
              <a:defRPr sz="1200" b="1">
                <a:solidFill>
                  <a:schemeClr val="bg1"/>
                </a:solidFill>
                <a:latin typeface="+mj-lt"/>
              </a:defRPr>
            </a:lvl4pPr>
            <a:lvl5pPr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Edi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r>
              <a:rPr lang="de-DE" dirty="0"/>
              <a:t> </a:t>
            </a:r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9BAB268C-B8AD-4891-87DE-1E8F1FBE80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083638" y="1080000"/>
            <a:ext cx="2699999" cy="360000"/>
          </a:xfrm>
          <a:solidFill>
            <a:schemeClr val="accent1"/>
          </a:solidFill>
        </p:spPr>
        <p:txBody>
          <a:bodyPr wrap="square" lIns="108000" rIns="108000" anchor="ctr" anchorCtr="0">
            <a:noAutofit/>
          </a:bodyPr>
          <a:lstStyle>
            <a:lvl1pPr algn="l">
              <a:defRPr sz="1200" b="1">
                <a:solidFill>
                  <a:schemeClr val="bg1"/>
                </a:solidFill>
                <a:latin typeface="+mj-lt"/>
              </a:defRPr>
            </a:lvl1pPr>
            <a:lvl2pPr>
              <a:defRPr sz="1200" b="1">
                <a:solidFill>
                  <a:schemeClr val="bg1"/>
                </a:solidFill>
                <a:latin typeface="+mj-lt"/>
              </a:defRPr>
            </a:lvl2pPr>
            <a:lvl3pPr>
              <a:defRPr sz="1200" b="1">
                <a:solidFill>
                  <a:schemeClr val="bg1"/>
                </a:solidFill>
                <a:latin typeface="+mj-lt"/>
              </a:defRPr>
            </a:lvl3pPr>
            <a:lvl4pPr>
              <a:defRPr sz="1200" b="1">
                <a:solidFill>
                  <a:schemeClr val="bg1"/>
                </a:solidFill>
                <a:latin typeface="+mj-lt"/>
              </a:defRPr>
            </a:lvl4pPr>
            <a:lvl5pPr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Edit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37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ext +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20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2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F67B29A1-336F-4552-A52A-CA05F35C0170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794DE7E7-BA8C-4D6C-8B1C-B040E0FE00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1080000"/>
            <a:ext cx="4392000" cy="1384995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dirty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59D56610-C6DB-4C9E-9DA2-5D23C3B7D1B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111637" y="1080000"/>
            <a:ext cx="3672000" cy="3420001"/>
          </a:xfrm>
          <a:solidFill>
            <a:schemeClr val="accent5"/>
          </a:solidFill>
        </p:spPr>
        <p:txBody>
          <a:bodyPr wrap="none" anchor="ctr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 sz="12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Tap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8891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 Pictures +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014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6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8E79EEA2-A828-4FBB-B6EE-4E596F1D757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C1256129-E234-494D-91B5-1445BFFB54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695637" y="1079998"/>
            <a:ext cx="2088000" cy="1384995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403A009-0225-4179-8031-72B4376F547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60000" y="1079998"/>
            <a:ext cx="2988000" cy="3420001"/>
          </a:xfrm>
          <a:solidFill>
            <a:schemeClr val="accent5"/>
          </a:solidFill>
        </p:spPr>
        <p:txBody>
          <a:bodyPr wrap="none" anchor="ctr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 sz="12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lang="de-DE" dirty="0" err="1"/>
              <a:t>Tap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D8C2AECD-AC22-4F71-B8AB-9A2177DBED2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527819" y="1079998"/>
            <a:ext cx="2988000" cy="3420001"/>
          </a:xfrm>
          <a:solidFill>
            <a:schemeClr val="accent5"/>
          </a:solidFill>
        </p:spPr>
        <p:txBody>
          <a:bodyPr wrap="none" anchor="ctr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 sz="1200"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lang="de-DE" dirty="0" err="1"/>
              <a:t>Tap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4161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ext +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309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0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DC55FF91-693E-4C87-ADDD-D35DDC30B727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Innovation Management</a:t>
            </a:r>
            <a:endParaRPr lang="de-DE" dirty="0"/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794DE7E7-BA8C-4D6C-8B1C-B040E0FE00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60000" y="1080000"/>
            <a:ext cx="4392000" cy="1384995"/>
          </a:xfrm>
        </p:spPr>
        <p:txBody>
          <a:bodyPr>
            <a:sp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CD743299-9CCD-43CA-B41C-89656C777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87550" y="2036999"/>
            <a:ext cx="3357925" cy="1040926"/>
          </a:xfrm>
        </p:spPr>
        <p:txBody>
          <a:bodyPr wrap="square" anchor="ctr">
            <a:spAutoFit/>
          </a:bodyPr>
          <a:lstStyle>
            <a:lvl1pPr>
              <a:lnSpc>
                <a:spcPts val="4000"/>
              </a:lnSpc>
              <a:defRPr sz="3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 err="1"/>
              <a:t>Ta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format</a:t>
            </a:r>
            <a:endParaRPr lang="de-DE" dirty="0"/>
          </a:p>
        </p:txBody>
      </p:sp>
      <p:sp>
        <p:nvSpPr>
          <p:cNvPr id="11" name="Halbbogen 10">
            <a:extLst>
              <a:ext uri="{FF2B5EF4-FFF2-40B4-BE49-F238E27FC236}">
                <a16:creationId xmlns:a16="http://schemas.microsoft.com/office/drawing/2014/main" id="{4EBCD9F9-B20C-4318-8A6F-F5DFF6E34B67}"/>
              </a:ext>
            </a:extLst>
          </p:cNvPr>
          <p:cNvSpPr>
            <a:spLocks noChangeAspect="1"/>
          </p:cNvSpPr>
          <p:nvPr userDrawn="1"/>
        </p:nvSpPr>
        <p:spPr bwMode="gray">
          <a:xfrm rot="20738154" flipH="1" flipV="1">
            <a:off x="5272503" y="1030621"/>
            <a:ext cx="3528000" cy="3528000"/>
          </a:xfrm>
          <a:prstGeom prst="blockArc">
            <a:avLst>
              <a:gd name="adj1" fmla="val 3515388"/>
              <a:gd name="adj2" fmla="val 20929267"/>
              <a:gd name="adj3" fmla="val 107"/>
            </a:avLst>
          </a:prstGeom>
          <a:solidFill>
            <a:schemeClr val="tx2"/>
          </a:solidFill>
          <a:ln w="21590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 eaLnBrk="1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99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438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3B6866BA-5047-4828-9ED1-1409386078F8}"/>
              </a:ext>
            </a:extLst>
          </p:cNvPr>
          <p:cNvSpPr/>
          <p:nvPr userDrawn="1"/>
        </p:nvSpPr>
        <p:spPr>
          <a:xfrm flipV="1">
            <a:off x="0" y="575852"/>
            <a:ext cx="5544728" cy="4567648"/>
          </a:xfrm>
          <a:custGeom>
            <a:avLst/>
            <a:gdLst>
              <a:gd name="connsiteX0" fmla="*/ 5517867 w 5544728"/>
              <a:gd name="connsiteY0" fmla="*/ 780800 h 4567648"/>
              <a:gd name="connsiteX1" fmla="*/ 5544728 w 5544728"/>
              <a:gd name="connsiteY1" fmla="*/ 778044 h 4567648"/>
              <a:gd name="connsiteX2" fmla="*/ 5543226 w 5544728"/>
              <a:gd name="connsiteY2" fmla="*/ 758292 h 4567648"/>
              <a:gd name="connsiteX3" fmla="*/ 5418074 w 5544728"/>
              <a:gd name="connsiteY3" fmla="*/ 124628 h 4567648"/>
              <a:gd name="connsiteX4" fmla="*/ 5374625 w 5544728"/>
              <a:gd name="connsiteY4" fmla="*/ 0 h 4567648"/>
              <a:gd name="connsiteX5" fmla="*/ 5349340 w 5544728"/>
              <a:gd name="connsiteY5" fmla="*/ 0 h 4567648"/>
              <a:gd name="connsiteX6" fmla="*/ 5403266 w 5544728"/>
              <a:gd name="connsiteY6" fmla="*/ 170376 h 4567648"/>
              <a:gd name="connsiteX7" fmla="*/ 5516366 w 5544728"/>
              <a:gd name="connsiteY7" fmla="*/ 761053 h 4567648"/>
              <a:gd name="connsiteX8" fmla="*/ 2105069 w 5544728"/>
              <a:gd name="connsiteY8" fmla="*/ 4567648 h 4567648"/>
              <a:gd name="connsiteX9" fmla="*/ 2968777 w 5544728"/>
              <a:gd name="connsiteY9" fmla="*/ 4458844 h 4567648"/>
              <a:gd name="connsiteX10" fmla="*/ 3126761 w 5544728"/>
              <a:gd name="connsiteY10" fmla="*/ 4413981 h 4567648"/>
              <a:gd name="connsiteX11" fmla="*/ 3118021 w 5544728"/>
              <a:gd name="connsiteY11" fmla="*/ 4388397 h 4567648"/>
              <a:gd name="connsiteX12" fmla="*/ 2962030 w 5544728"/>
              <a:gd name="connsiteY12" fmla="*/ 4432694 h 4567648"/>
              <a:gd name="connsiteX13" fmla="*/ 2105069 w 5544728"/>
              <a:gd name="connsiteY13" fmla="*/ 4540648 h 4567648"/>
              <a:gd name="connsiteX14" fmla="*/ 22636 w 5544728"/>
              <a:gd name="connsiteY14" fmla="*/ 3836116 h 4567648"/>
              <a:gd name="connsiteX15" fmla="*/ 0 w 5544728"/>
              <a:gd name="connsiteY15" fmla="*/ 3817732 h 4567648"/>
              <a:gd name="connsiteX16" fmla="*/ 0 w 5544728"/>
              <a:gd name="connsiteY16" fmla="*/ 3851131 h 4567648"/>
              <a:gd name="connsiteX17" fmla="*/ 20695 w 5544728"/>
              <a:gd name="connsiteY17" fmla="*/ 3868575 h 4567648"/>
              <a:gd name="connsiteX18" fmla="*/ 2105069 w 5544728"/>
              <a:gd name="connsiteY18" fmla="*/ 4567648 h 456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544728" h="4567648">
                <a:moveTo>
                  <a:pt x="5517867" y="780800"/>
                </a:moveTo>
                <a:lnTo>
                  <a:pt x="5544728" y="778044"/>
                </a:lnTo>
                <a:lnTo>
                  <a:pt x="5543226" y="758292"/>
                </a:lnTo>
                <a:cubicBezTo>
                  <a:pt x="5521104" y="540454"/>
                  <a:pt x="5478750" y="328596"/>
                  <a:pt x="5418074" y="124628"/>
                </a:cubicBezTo>
                <a:lnTo>
                  <a:pt x="5374625" y="0"/>
                </a:lnTo>
                <a:lnTo>
                  <a:pt x="5349340" y="0"/>
                </a:lnTo>
                <a:lnTo>
                  <a:pt x="5403266" y="170376"/>
                </a:lnTo>
                <a:cubicBezTo>
                  <a:pt x="5457568" y="361012"/>
                  <a:pt x="5495789" y="558425"/>
                  <a:pt x="5516366" y="761053"/>
                </a:cubicBezTo>
                <a:close/>
                <a:moveTo>
                  <a:pt x="2105069" y="4567648"/>
                </a:moveTo>
                <a:cubicBezTo>
                  <a:pt x="2403303" y="4567648"/>
                  <a:pt x="2692714" y="4529872"/>
                  <a:pt x="2968777" y="4458844"/>
                </a:cubicBezTo>
                <a:lnTo>
                  <a:pt x="3126761" y="4413981"/>
                </a:lnTo>
                <a:lnTo>
                  <a:pt x="3118021" y="4388397"/>
                </a:lnTo>
                <a:lnTo>
                  <a:pt x="2962030" y="4432694"/>
                </a:lnTo>
                <a:cubicBezTo>
                  <a:pt x="2688123" y="4503167"/>
                  <a:pt x="2400973" y="4540648"/>
                  <a:pt x="2105069" y="4540648"/>
                </a:cubicBezTo>
                <a:cubicBezTo>
                  <a:pt x="1321849" y="4540648"/>
                  <a:pt x="599960" y="4278059"/>
                  <a:pt x="22636" y="3836116"/>
                </a:cubicBezTo>
                <a:lnTo>
                  <a:pt x="0" y="3817732"/>
                </a:lnTo>
                <a:lnTo>
                  <a:pt x="0" y="3851131"/>
                </a:lnTo>
                <a:lnTo>
                  <a:pt x="20695" y="3868575"/>
                </a:lnTo>
                <a:cubicBezTo>
                  <a:pt x="600138" y="4307348"/>
                  <a:pt x="1322206" y="4567648"/>
                  <a:pt x="2105069" y="456764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 eaLnBrk="1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924050" y="1376914"/>
            <a:ext cx="6480000" cy="2361096"/>
          </a:xfrm>
        </p:spPr>
        <p:txBody>
          <a:bodyPr wrap="square" anchor="ctr">
            <a:noAutofit/>
          </a:bodyPr>
          <a:lstStyle>
            <a:lvl1pPr marL="182563" indent="-182563">
              <a:lnSpc>
                <a:spcPts val="46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„Quote – Lufthansa Office</a:t>
            </a:r>
            <a:br>
              <a:rPr lang="de-DE" dirty="0"/>
            </a:br>
            <a:r>
              <a:rPr lang="de-DE" dirty="0"/>
              <a:t>Head Regular 44 </a:t>
            </a:r>
            <a:r>
              <a:rPr lang="de-DE" dirty="0" err="1"/>
              <a:t>pt</a:t>
            </a:r>
            <a:r>
              <a:rPr lang="de-DE" dirty="0"/>
              <a:t/>
            </a:r>
            <a:br>
              <a:rPr lang="de-DE" dirty="0"/>
            </a:br>
            <a:r>
              <a:rPr lang="de-DE" dirty="0" err="1"/>
              <a:t>occaestio</a:t>
            </a:r>
            <a:r>
              <a:rPr lang="de-DE" dirty="0"/>
              <a:t> </a:t>
            </a:r>
            <a:r>
              <a:rPr lang="de-DE" dirty="0" err="1"/>
              <a:t>vellest</a:t>
            </a:r>
            <a:r>
              <a:rPr lang="de-DE" dirty="0"/>
              <a:t> </a:t>
            </a:r>
            <a:r>
              <a:rPr lang="de-DE" dirty="0" err="1"/>
              <a:t>voluptatu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eseque</a:t>
            </a:r>
            <a:r>
              <a:rPr lang="de-DE" dirty="0"/>
              <a:t>.“</a:t>
            </a:r>
          </a:p>
        </p:txBody>
      </p:sp>
      <p:sp>
        <p:nvSpPr>
          <p:cNvPr id="11" name="Datumsplatzhalter 2"/>
          <p:cNvSpPr>
            <a:spLocks noGrp="1"/>
          </p:cNvSpPr>
          <p:nvPr>
            <p:ph type="dt" sz="half" idx="10"/>
          </p:nvPr>
        </p:nvSpPr>
        <p:spPr bwMode="gray">
          <a:xfrm>
            <a:off x="358412" y="4784398"/>
            <a:ext cx="809517" cy="923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D1F177-FF93-4E78-9C1C-6AE158829835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358410" y="4689475"/>
            <a:ext cx="849592" cy="923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Innovation Manage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046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40 pt, Blue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036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7FD1A64-765B-4B1F-9CB7-0614F7A1A0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43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de-DE" sz="4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F86C2F59-F5B8-9440-B043-3347910E77CD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04000" y="1692000"/>
            <a:ext cx="6120000" cy="2205732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ts val="4300"/>
              </a:lnSpc>
              <a:defRPr sz="4000" spc="-4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Lufthansa Office Head Regular 40 </a:t>
            </a:r>
            <a:r>
              <a:rPr lang="de-DE" noProof="0" dirty="0" err="1"/>
              <a:t>pt</a:t>
            </a:r>
            <a:r>
              <a:rPr lang="de-DE" noProof="0" dirty="0"/>
              <a:t> hier steht eine Headline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endParaRPr lang="de-DE" noProof="0" dirty="0"/>
          </a:p>
        </p:txBody>
      </p:sp>
      <p:sp>
        <p:nvSpPr>
          <p:cNvPr id="16" name="Textplatzhalter 9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04000" y="1080000"/>
            <a:ext cx="2598468" cy="384721"/>
          </a:xfrm>
        </p:spPr>
        <p:txBody>
          <a:bodyPr wrap="none" anchor="b">
            <a:spAutoFit/>
          </a:bodyPr>
          <a:lstStyle>
            <a:lvl1pPr>
              <a:lnSpc>
                <a:spcPts val="3040"/>
              </a:lnSpc>
              <a:defRPr sz="23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Overline</a:t>
            </a:r>
            <a:r>
              <a:rPr lang="de-DE" dirty="0"/>
              <a:t> (optional)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57BF4D8-7FB5-4BA5-A303-322BF021B9C3}"/>
              </a:ext>
            </a:extLst>
          </p:cNvPr>
          <p:cNvGrpSpPr/>
          <p:nvPr userDrawn="1"/>
        </p:nvGrpSpPr>
        <p:grpSpPr>
          <a:xfrm>
            <a:off x="-271463" y="-271462"/>
            <a:ext cx="9686562" cy="5716192"/>
            <a:chOff x="-271463" y="-271462"/>
            <a:chExt cx="9686562" cy="5716192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B4BE8662-517A-4D41-80E3-B9BED9869D7D}"/>
                </a:ext>
              </a:extLst>
            </p:cNvPr>
            <p:cNvCxnSpPr/>
            <p:nvPr userDrawn="1"/>
          </p:nvCxnSpPr>
          <p:spPr>
            <a:xfrm>
              <a:off x="-271463" y="16843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BECFDA0-0267-4655-B742-52F473628275}"/>
                </a:ext>
              </a:extLst>
            </p:cNvPr>
            <p:cNvCxnSpPr/>
            <p:nvPr userDrawn="1"/>
          </p:nvCxnSpPr>
          <p:spPr>
            <a:xfrm>
              <a:off x="-271463" y="365678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85BFEAC-D19F-4917-B7F6-E5713C2EB76F}"/>
                </a:ext>
              </a:extLst>
            </p:cNvPr>
            <p:cNvCxnSpPr/>
            <p:nvPr userDrawn="1"/>
          </p:nvCxnSpPr>
          <p:spPr>
            <a:xfrm>
              <a:off x="-271463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38976AA0-7C63-4332-BFCD-10900575CD04}"/>
                </a:ext>
              </a:extLst>
            </p:cNvPr>
            <p:cNvCxnSpPr/>
            <p:nvPr userDrawn="1"/>
          </p:nvCxnSpPr>
          <p:spPr>
            <a:xfrm>
              <a:off x="-271463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D6CDCD92-608D-48D1-841B-1334776BBEBB}"/>
                </a:ext>
              </a:extLst>
            </p:cNvPr>
            <p:cNvCxnSpPr/>
            <p:nvPr userDrawn="1"/>
          </p:nvCxnSpPr>
          <p:spPr>
            <a:xfrm>
              <a:off x="-271463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DD140C2D-967F-4178-8626-3EDDE8383D1E}"/>
                </a:ext>
              </a:extLst>
            </p:cNvPr>
            <p:cNvCxnSpPr/>
            <p:nvPr userDrawn="1"/>
          </p:nvCxnSpPr>
          <p:spPr>
            <a:xfrm>
              <a:off x="-271463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F956B60A-0502-41EF-970D-D74DD48C0FEB}"/>
                </a:ext>
              </a:extLst>
            </p:cNvPr>
            <p:cNvCxnSpPr/>
            <p:nvPr userDrawn="1"/>
          </p:nvCxnSpPr>
          <p:spPr>
            <a:xfrm>
              <a:off x="-271463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69BC63FD-1550-4EF7-AA27-20C4F642E1BA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398069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E1D29E3-25C5-480D-9A07-381C5961C601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4473575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BD4D09B0-5216-442B-A335-B3ED8348F4CA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689611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D32B4EE4-C1C3-4204-BC1E-0F961207C2C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365678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7860053-D672-481B-A685-A1B5595D7C8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16843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C07B4C7-5AA2-4A92-8D23-B62C30111A0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C449F75F-E1AE-4E2F-A3E0-7AC980B71C4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264173A-E80C-4CF5-ABD4-3BB30596BE2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15F43B54-4C57-4B98-8F9E-21592BD13D9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F6216AB-8C7B-4330-959D-89F76BFCF6AF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D4204B49-082E-4B71-837E-9F1C1E21DBE8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8689973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D351BF11-A143-45B7-8013-0247C0EC17D2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4473211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7A529598-1D31-4018-A5D6-0D43B8B43470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405574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C897622C-6C0B-4AE3-8F32-1586A61FAF00}"/>
                </a:ext>
              </a:extLst>
            </p:cNvPr>
            <p:cNvCxnSpPr/>
            <p:nvPr userDrawn="1"/>
          </p:nvCxnSpPr>
          <p:spPr>
            <a:xfrm>
              <a:off x="-271463" y="39608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BA0D0A5B-E9B2-4FD4-87FE-B4E18D272F6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39608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64767EE3-510D-4B74-BEE8-4CF47E3AFCE6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0963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0062D547-8DE2-4195-90BA-A7B2D91C4609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867808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59CAD266-B9C5-46DD-90D7-9DA6E0DE90DD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256813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F43591C7-0F15-4BE0-85B2-C22536195701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257175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CB9219A7-5697-412F-800A-AA609695C9CD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0963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D7A49138-DB24-40AE-8BE3-CACAB62FA80F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867808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FAC79EFC-2EC9-4812-AD08-0B3A3BA01979}"/>
                </a:ext>
              </a:extLst>
            </p:cNvPr>
            <p:cNvCxnSpPr/>
            <p:nvPr userDrawn="1"/>
          </p:nvCxnSpPr>
          <p:spPr>
            <a:xfrm>
              <a:off x="-271463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33531D76-582A-4C23-8AB8-668ADD9E419A}"/>
                </a:ext>
              </a:extLst>
            </p:cNvPr>
            <p:cNvCxnSpPr/>
            <p:nvPr userDrawn="1"/>
          </p:nvCxnSpPr>
          <p:spPr>
            <a:xfrm>
              <a:off x="-271463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32927414-4B4D-4BAE-9DF9-1017B0C6AC8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2FB12798-B017-4FE8-8AC2-57455F371C5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platzhalter 2"/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504000" y="3804773"/>
            <a:ext cx="2160000" cy="153888"/>
          </a:xfrm>
        </p:spPr>
        <p:txBody>
          <a:bodyPr/>
          <a:lstStyle>
            <a:lvl1pPr>
              <a:lnSpc>
                <a:spcPct val="100000"/>
              </a:lnSpc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Name, place (optional)</a:t>
            </a:r>
          </a:p>
        </p:txBody>
      </p:sp>
      <p:sp>
        <p:nvSpPr>
          <p:cNvPr id="13" name="Datumsplatzhalter 1"/>
          <p:cNvSpPr>
            <a:spLocks noGrp="1"/>
          </p:cNvSpPr>
          <p:nvPr userDrawn="1">
            <p:ph type="dt" sz="half" idx="18"/>
          </p:nvPr>
        </p:nvSpPr>
        <p:spPr bwMode="gray">
          <a:xfrm>
            <a:off x="504000" y="3663923"/>
            <a:ext cx="1308050" cy="153888"/>
          </a:xfrm>
        </p:spPr>
        <p:txBody>
          <a:bodyPr/>
          <a:lstStyle>
            <a:lvl1pPr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CB94895-5019-4348-9784-00774F5C47B3}" type="datetime1">
              <a:rPr lang="de-DE" smtClean="0"/>
              <a:t>14.09.2020</a:t>
            </a:fld>
            <a:endParaRPr lang="de-DE" dirty="0"/>
          </a:p>
        </p:txBody>
      </p:sp>
      <p:cxnSp>
        <p:nvCxnSpPr>
          <p:cNvPr id="51" name="Gerader Verbinder 50"/>
          <p:cNvCxnSpPr/>
          <p:nvPr userDrawn="1"/>
        </p:nvCxnSpPr>
        <p:spPr>
          <a:xfrm>
            <a:off x="355237" y="838557"/>
            <a:ext cx="8784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/>
          <p:cNvCxnSpPr/>
          <p:nvPr userDrawn="1"/>
        </p:nvCxnSpPr>
        <p:spPr>
          <a:xfrm>
            <a:off x="715237" y="884169"/>
            <a:ext cx="842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577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3">
          <p15:clr>
            <a:srgbClr val="FBAE40"/>
          </p15:clr>
        </p15:guide>
        <p15:guide id="2" pos="5647">
          <p15:clr>
            <a:srgbClr val="FBAE40"/>
          </p15:clr>
        </p15:guide>
        <p15:guide id="5" orient="horz" pos="1064">
          <p15:clr>
            <a:srgbClr val="FBAE40"/>
          </p15:clr>
        </p15:guide>
        <p15:guide id="6" orient="horz" pos="2304">
          <p15:clr>
            <a:srgbClr val="FBAE40"/>
          </p15:clr>
        </p15:guide>
        <p15:guide id="7" orient="horz" pos="2496">
          <p15:clr>
            <a:srgbClr val="FBAE40"/>
          </p15:clr>
        </p15:guide>
        <p15:guide id="8" pos="113">
          <p15:clr>
            <a:srgbClr val="FBAE40"/>
          </p15:clr>
        </p15:guide>
        <p15:guide id="9" orient="horz" pos="507">
          <p15:clr>
            <a:srgbClr val="FBAE40"/>
          </p15:clr>
        </p15:guide>
        <p15:guide id="10" orient="horz" pos="2952">
          <p15:clr>
            <a:srgbClr val="FBAE40"/>
          </p15:clr>
        </p15:guide>
        <p15:guide id="11" orient="horz" pos="67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6 chapters,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6971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 baseline="0"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 bwMode="gray">
          <a:xfrm>
            <a:off x="358412" y="4784398"/>
            <a:ext cx="809517" cy="92333"/>
          </a:xfrm>
        </p:spPr>
        <p:txBody>
          <a:bodyPr/>
          <a:lstStyle>
            <a:lvl1pPr>
              <a:defRPr/>
            </a:lvl1pPr>
          </a:lstStyle>
          <a:p>
            <a:fld id="{318CF53A-438C-40B7-9539-56807531361D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 bwMode="gray"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482CF17-68B1-4B42-B54D-1F02636C3F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28000" y="1090227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1</a:t>
            </a:r>
          </a:p>
          <a:p>
            <a:pPr lvl="1"/>
            <a:r>
              <a:rPr lang="de-DE" dirty="0"/>
              <a:t>Topic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55EA1576-93B0-459A-A61E-C61B5BC24D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28000" y="1612609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None/>
              <a:tabLst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2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lang="de-DE" dirty="0"/>
              <a:t>Topic lorem ipsum</a:t>
            </a:r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E92FFD16-D700-4088-B0E8-335F5ADB10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28000" y="2134991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3</a:t>
            </a:r>
          </a:p>
          <a:p>
            <a:pPr lvl="1"/>
            <a:r>
              <a:rPr lang="de-DE" dirty="0"/>
              <a:t>Topic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EC4FDE0-73BF-43CC-92B5-2754ECC941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28000" y="2657373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4</a:t>
            </a:r>
          </a:p>
          <a:p>
            <a:pPr lvl="1"/>
            <a:r>
              <a:rPr lang="de-DE" dirty="0"/>
              <a:t>Topic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BC7C9F0E-F3A3-4E5A-AC10-C035714392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28000" y="3179755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5</a:t>
            </a:r>
          </a:p>
          <a:p>
            <a:pPr lvl="1"/>
            <a:r>
              <a:rPr lang="de-DE" dirty="0"/>
              <a:t>Topic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56F52787-381F-4204-A380-51B51779DC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28000" y="3702136"/>
            <a:ext cx="7932293" cy="430887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Chapter 6</a:t>
            </a:r>
          </a:p>
          <a:p>
            <a:pPr lvl="1"/>
            <a:r>
              <a:rPr lang="de-DE" dirty="0"/>
              <a:t>Topic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8A20F540-F620-4850-A7B9-4B4649532E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0" y="1092105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F54EA9E5-D718-40CA-B57D-9EB44F46AF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8000" y="1613861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2557117D-D2F4-4773-9857-0B5DD3223B9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8000" y="2129132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DCDB1E70-C457-484F-BB5F-EBFBCF24BF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68000" y="2657373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58B3980F-4170-463F-811F-FC586FC737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8000" y="3160014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3" name="Textplatzhalter 21">
            <a:extLst>
              <a:ext uri="{FF2B5EF4-FFF2-40B4-BE49-F238E27FC236}">
                <a16:creationId xmlns:a16="http://schemas.microsoft.com/office/drawing/2014/main" id="{48F7E671-A41F-44C8-82F9-225E1359A4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" y="3688257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35964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9 chapters,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169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 bwMode="gray">
          <a:xfrm>
            <a:off x="358412" y="4784398"/>
            <a:ext cx="809517" cy="92333"/>
          </a:xfrm>
        </p:spPr>
        <p:txBody>
          <a:bodyPr/>
          <a:lstStyle/>
          <a:p>
            <a:fld id="{542F625E-2160-4CEB-9C81-D674B1F16D3B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 bwMode="gray"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482CF17-68B1-4B42-B54D-1F02636C3F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28000" y="1090227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55EA1576-93B0-459A-A61E-C61B5BC24D3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28000" y="1458448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E92FFD16-D700-4088-B0E8-335F5ADB100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28000" y="1826669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EC4FDE0-73BF-43CC-92B5-2754ECC941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28000" y="2194890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BC7C9F0E-F3A3-4E5A-AC10-C035714392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28000" y="2563111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56F52787-381F-4204-A380-51B51779DC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28000" y="2931332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8A20F540-F620-4850-A7B9-4B4649532E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000" y="107299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F54EA9E5-D718-40CA-B57D-9EB44F46AF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8000" y="144001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2557117D-D2F4-4773-9857-0B5DD3223B9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8000" y="180703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DCDB1E70-C457-484F-BB5F-EBFBCF24BFE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68000" y="217405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58B3980F-4170-463F-811F-FC586FC737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8000" y="254107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3" name="Textplatzhalter 21">
            <a:extLst>
              <a:ext uri="{FF2B5EF4-FFF2-40B4-BE49-F238E27FC236}">
                <a16:creationId xmlns:a16="http://schemas.microsoft.com/office/drawing/2014/main" id="{48F7E671-A41F-44C8-82F9-225E1359A4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" y="290809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0" name="Textplatzhalter 21">
            <a:extLst>
              <a:ext uri="{FF2B5EF4-FFF2-40B4-BE49-F238E27FC236}">
                <a16:creationId xmlns:a16="http://schemas.microsoft.com/office/drawing/2014/main" id="{FEC4FDE0-73BF-43CC-92B5-2754ECC941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28000" y="3299553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1" name="Textplatzhalter 21">
            <a:extLst>
              <a:ext uri="{FF2B5EF4-FFF2-40B4-BE49-F238E27FC236}">
                <a16:creationId xmlns:a16="http://schemas.microsoft.com/office/drawing/2014/main" id="{BC7C9F0E-F3A3-4E5A-AC10-C0357143925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28000" y="3667774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34" name="Textplatzhalter 21">
            <a:extLst>
              <a:ext uri="{FF2B5EF4-FFF2-40B4-BE49-F238E27FC236}">
                <a16:creationId xmlns:a16="http://schemas.microsoft.com/office/drawing/2014/main" id="{56F52787-381F-4204-A380-51B51779DC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28000" y="4035996"/>
            <a:ext cx="7932293" cy="215444"/>
          </a:xfrm>
        </p:spPr>
        <p:txBody>
          <a:bodyPr anchor="t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</a:lstStyle>
          <a:p>
            <a:pPr lvl="1"/>
            <a:r>
              <a:rPr lang="de-DE" dirty="0"/>
              <a:t>Chapter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35" name="Textplatzhalter 21">
            <a:extLst>
              <a:ext uri="{FF2B5EF4-FFF2-40B4-BE49-F238E27FC236}">
                <a16:creationId xmlns:a16="http://schemas.microsoft.com/office/drawing/2014/main" id="{DCDB1E70-C457-484F-BB5F-EBFBCF24BF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8000" y="327511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6" name="Textplatzhalter 21">
            <a:extLst>
              <a:ext uri="{FF2B5EF4-FFF2-40B4-BE49-F238E27FC236}">
                <a16:creationId xmlns:a16="http://schemas.microsoft.com/office/drawing/2014/main" id="{58B3980F-4170-463F-811F-FC586FC737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68000" y="3642130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7" name="Textplatzhalter 21">
            <a:extLst>
              <a:ext uri="{FF2B5EF4-FFF2-40B4-BE49-F238E27FC236}">
                <a16:creationId xmlns:a16="http://schemas.microsoft.com/office/drawing/2014/main" id="{48F7E671-A41F-44C8-82F9-225E1359A49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8000" y="4009147"/>
            <a:ext cx="237600" cy="2376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anchor="ctr" anchorCtr="1">
            <a:noAutofit/>
          </a:bodyPr>
          <a:lstStyle>
            <a:lvl1pPr>
              <a:defRPr sz="800" b="1">
                <a:solidFill>
                  <a:schemeClr val="bg1"/>
                </a:solidFill>
                <a:latin typeface="Lufthansa Office Head" panose="020B0404040000000004"/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143581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34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9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3A17B27-BAF5-4E51-9693-89D693A3F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387927" cy="9233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F291A4E-68A5-4B6F-BB98-A5692CCAB4A9}" type="datetime1">
              <a:rPr lang="de-DE" smtClean="0"/>
              <a:pPr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31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240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7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97746"/>
            <a:ext cx="809517" cy="92333"/>
          </a:xfrm>
        </p:spPr>
        <p:txBody>
          <a:bodyPr/>
          <a:lstStyle/>
          <a:p>
            <a:fld id="{233D53AB-770F-4150-B16A-6D9C4FE8DD3B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702823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D5D93898-50AC-4F01-A10D-FF5B0AB2B9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1080000"/>
            <a:ext cx="8424000" cy="1384995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14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iv Cont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09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2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r>
              <a:rPr lang="de-DE" noProof="0" dirty="0"/>
              <a:t/>
            </a:r>
            <a:br>
              <a:rPr lang="de-DE" noProof="0" dirty="0"/>
            </a:b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DCA4B1CE-2D0C-4EBE-B934-4933AB1E9F45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9" name="Inhaltsplatzhalter 9">
            <a:extLst>
              <a:ext uri="{FF2B5EF4-FFF2-40B4-BE49-F238E27FC236}">
                <a16:creationId xmlns:a16="http://schemas.microsoft.com/office/drawing/2014/main" id="{8BE940E4-8E76-4E8F-B791-F7C90130415A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360000" y="1080000"/>
            <a:ext cx="8424000" cy="1384995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610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iv Contents,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7780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5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4EF30944-3BAA-4959-A61B-A7E1304D7B8D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BC17AA-6A92-4662-953B-40544CBCE0C9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360000" y="1080000"/>
            <a:ext cx="4104000" cy="341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Inhaltsplatzhalter 9">
            <a:extLst>
              <a:ext uri="{FF2B5EF4-FFF2-40B4-BE49-F238E27FC236}">
                <a16:creationId xmlns:a16="http://schemas.microsoft.com/office/drawing/2014/main" id="{7C560755-4032-4560-8D5D-6E7816087840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4679637" y="1080000"/>
            <a:ext cx="4104000" cy="3418975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528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Div Contents, 2 Columns, 2 Row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A17B27-BAF5-4E51-9693-89D693A3F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99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9" name="think-cell Folie" r:id="rId5" imgW="413" imgH="416" progId="TCLayout.ActiveDocument.1">
                  <p:embed/>
                </p:oleObj>
              </mc:Choice>
              <mc:Fallback>
                <p:oleObj name="think-cell Folie" r:id="rId5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BBC2029-0A4C-4D11-AA30-59CAACF10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9200"/>
            <a:ext cx="7416000" cy="539313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126CCF-1400-442F-A87D-286BE0A00AA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58412" y="4784398"/>
            <a:ext cx="809517" cy="92333"/>
          </a:xfrm>
        </p:spPr>
        <p:txBody>
          <a:bodyPr/>
          <a:lstStyle/>
          <a:p>
            <a:fld id="{8256C271-D489-4523-BD2D-120361D1D429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D52A28-519E-4CC2-8F7B-A1DC84508B6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8411" y="4689475"/>
            <a:ext cx="849592" cy="92333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12" name="Inhaltsplatzhalter 9">
            <a:extLst>
              <a:ext uri="{FF2B5EF4-FFF2-40B4-BE49-F238E27FC236}">
                <a16:creationId xmlns:a16="http://schemas.microsoft.com/office/drawing/2014/main" id="{F49197AA-F955-467C-BFF6-BFD94CD656E5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360000" y="1079999"/>
            <a:ext cx="4104000" cy="1476000"/>
          </a:xfrm>
        </p:spPr>
        <p:txBody>
          <a:bodyPr wrap="square">
            <a:noAutofit/>
          </a:bodyPr>
          <a:lstStyle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9">
            <a:extLst>
              <a:ext uri="{FF2B5EF4-FFF2-40B4-BE49-F238E27FC236}">
                <a16:creationId xmlns:a16="http://schemas.microsoft.com/office/drawing/2014/main" id="{EF0A07C2-D34A-4DFA-8E64-3CB9ACA804B5}"/>
              </a:ext>
            </a:extLst>
          </p:cNvPr>
          <p:cNvSpPr>
            <a:spLocks noGrp="1"/>
          </p:cNvSpPr>
          <p:nvPr>
            <p:ph sz="quarter" idx="21"/>
          </p:nvPr>
        </p:nvSpPr>
        <p:spPr bwMode="gray">
          <a:xfrm>
            <a:off x="4679637" y="1079999"/>
            <a:ext cx="4104000" cy="1476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4" name="Inhaltsplatzhalter 9">
            <a:extLst>
              <a:ext uri="{FF2B5EF4-FFF2-40B4-BE49-F238E27FC236}">
                <a16:creationId xmlns:a16="http://schemas.microsoft.com/office/drawing/2014/main" id="{3A1930DC-37F0-477A-A6C7-468F7051027A}"/>
              </a:ext>
            </a:extLst>
          </p:cNvPr>
          <p:cNvSpPr>
            <a:spLocks noGrp="1"/>
          </p:cNvSpPr>
          <p:nvPr>
            <p:ph sz="quarter" idx="22"/>
          </p:nvPr>
        </p:nvSpPr>
        <p:spPr bwMode="gray">
          <a:xfrm>
            <a:off x="360000" y="2767011"/>
            <a:ext cx="4104000" cy="1476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906C8395-2729-4A6C-9005-F7F3B99FCC75}"/>
              </a:ext>
            </a:extLst>
          </p:cNvPr>
          <p:cNvSpPr>
            <a:spLocks noGrp="1"/>
          </p:cNvSpPr>
          <p:nvPr>
            <p:ph sz="quarter" idx="23"/>
          </p:nvPr>
        </p:nvSpPr>
        <p:spPr bwMode="gray">
          <a:xfrm>
            <a:off x="4679637" y="2767011"/>
            <a:ext cx="4104000" cy="1476000"/>
          </a:xfrm>
        </p:spPr>
        <p:txBody>
          <a:bodyPr wrap="square"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701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81332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" name="think-cell Folie" r:id="rId20" imgW="413" imgH="416" progId="TCLayout.ActiveDocument.1">
                  <p:embed/>
                </p:oleObj>
              </mc:Choice>
              <mc:Fallback>
                <p:oleObj name="think-cell Folie" r:id="rId2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9A4DB75C-2BBC-4C7B-BD21-C7EBE6219F90}"/>
              </a:ext>
            </a:extLst>
          </p:cNvPr>
          <p:cNvGrpSpPr/>
          <p:nvPr userDrawn="1"/>
        </p:nvGrpSpPr>
        <p:grpSpPr>
          <a:xfrm>
            <a:off x="-271463" y="-271462"/>
            <a:ext cx="9686562" cy="5716192"/>
            <a:chOff x="-271463" y="-271462"/>
            <a:chExt cx="9686562" cy="5716192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621989B3-2AE1-48E8-9B8F-D64BB067AEA2}"/>
                </a:ext>
              </a:extLst>
            </p:cNvPr>
            <p:cNvCxnSpPr/>
            <p:nvPr userDrawn="1"/>
          </p:nvCxnSpPr>
          <p:spPr>
            <a:xfrm>
              <a:off x="-271463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FFEC1592-D618-4154-9AD6-18229420E311}"/>
                </a:ext>
              </a:extLst>
            </p:cNvPr>
            <p:cNvCxnSpPr/>
            <p:nvPr userDrawn="1"/>
          </p:nvCxnSpPr>
          <p:spPr>
            <a:xfrm>
              <a:off x="-271463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DE59C288-C8F1-4CA3-9A75-00E9296439E9}"/>
                </a:ext>
              </a:extLst>
            </p:cNvPr>
            <p:cNvCxnSpPr/>
            <p:nvPr userDrawn="1"/>
          </p:nvCxnSpPr>
          <p:spPr>
            <a:xfrm>
              <a:off x="-271463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B851DBD-75F9-40D1-813A-4301F92CB487}"/>
                </a:ext>
              </a:extLst>
            </p:cNvPr>
            <p:cNvCxnSpPr/>
            <p:nvPr userDrawn="1"/>
          </p:nvCxnSpPr>
          <p:spPr>
            <a:xfrm>
              <a:off x="-271463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B2B5984-0190-4BE4-AA95-2E3AF562E17E}"/>
                </a:ext>
              </a:extLst>
            </p:cNvPr>
            <p:cNvCxnSpPr/>
            <p:nvPr userDrawn="1"/>
          </p:nvCxnSpPr>
          <p:spPr>
            <a:xfrm>
              <a:off x="-271463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BAAB375-5C35-4AF5-9AFE-E84629AF296C}"/>
                </a:ext>
              </a:extLst>
            </p:cNvPr>
            <p:cNvCxnSpPr/>
            <p:nvPr userDrawn="1"/>
          </p:nvCxnSpPr>
          <p:spPr>
            <a:xfrm>
              <a:off x="-271463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F1812F2E-D2DB-4CC8-9B60-A70190FEC3E4}"/>
                </a:ext>
              </a:extLst>
            </p:cNvPr>
            <p:cNvCxnSpPr/>
            <p:nvPr userDrawn="1"/>
          </p:nvCxnSpPr>
          <p:spPr>
            <a:xfrm>
              <a:off x="-271463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49A55AC5-4078-4A06-96DC-7CC07FF42897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256813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15406569-F6CF-48BE-85D8-DFF89ED469F4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4473575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C9190010-0439-4F1A-B0C6-5EBD5B4E44FC}"/>
                </a:ext>
              </a:extLst>
            </p:cNvPr>
            <p:cNvCxnSpPr>
              <a:cxnSpLocks/>
            </p:cNvCxnSpPr>
            <p:nvPr userDrawn="1"/>
          </p:nvCxnSpPr>
          <p:spPr>
            <a:xfrm rot="5400000">
              <a:off x="8689611" y="-173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5F2E78D1-B297-491B-BE46-C31A62F1A55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2413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D6755953-59A0-4ADE-A19F-66091217B25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808037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93F22953-0A2D-4C7C-853A-8CEF32AA498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1074738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B339FAC5-9FB8-4415-8E91-12ADCD1BBAD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2571750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5C9172-BFB8-40A2-8C76-DAC06D11B54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502151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00922FF8-B900-475C-9D8E-4BEBC4C4D09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68947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25CF73A-30A0-40D1-BE28-D4533FA1A4B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218249" y="49780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D0E3CF7A-41E3-462D-BF6F-576B7852CAC3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8689973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AE6C123F-4B68-4F99-A17A-F37B295ADB46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4473211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8FFF0A36-18F5-40C7-8DE4-9CA291232A2E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 flipV="1">
              <a:off x="257175" y="5346305"/>
              <a:ext cx="19685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360000" y="259200"/>
            <a:ext cx="7416000" cy="53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 err="1"/>
              <a:t>Tap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title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080000"/>
            <a:ext cx="8423637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noProof="0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358412" y="4784398"/>
            <a:ext cx="487313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8782AA5E-8AF3-4755-9E61-E8D503A0C93A}" type="datetime1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14.09.2020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3A9A469C-0DF6-5642-8644-83951A659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58411" y="4689475"/>
            <a:ext cx="8688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Innovation Management</a:t>
            </a:r>
            <a:endParaRPr lang="de-DE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C28A2C6-7736-41B4-9E46-5022F7EAEB72}"/>
              </a:ext>
            </a:extLst>
          </p:cNvPr>
          <p:cNvSpPr txBox="1"/>
          <p:nvPr userDrawn="1"/>
        </p:nvSpPr>
        <p:spPr>
          <a:xfrm>
            <a:off x="358411" y="4876731"/>
            <a:ext cx="487313" cy="9233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</a:pPr>
            <a:r>
              <a:rPr lang="de-DE" sz="600" b="0" i="0" u="none" kern="1200" spc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8C8056E5-AD86-4DEB-BF3F-61D372438882}" type="slidenum">
              <a:rPr lang="de-DE" sz="600" b="0" i="0" u="none" kern="1200" spc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</a:pPr>
              <a:t>‹Nr.›</a:t>
            </a:fld>
            <a:endParaRPr lang="de-DE" sz="600" b="0" i="0" u="none" kern="1200" spc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55237" y="838557"/>
            <a:ext cx="878400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/>
          <p:cNvCxnSpPr/>
          <p:nvPr userDrawn="1"/>
        </p:nvCxnSpPr>
        <p:spPr>
          <a:xfrm>
            <a:off x="715237" y="884169"/>
            <a:ext cx="8424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649" y="255655"/>
            <a:ext cx="799140" cy="331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52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71" r:id="rId2"/>
    <p:sldLayoutId id="2147483691" r:id="rId3"/>
    <p:sldLayoutId id="2147483692" r:id="rId4"/>
    <p:sldLayoutId id="2147483766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8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137" userDrawn="1">
          <p15:clr>
            <a:srgbClr val="F26B43"/>
          </p15:clr>
        </p15:guide>
        <p15:guide id="2" orient="horz" pos="2954" userDrawn="1">
          <p15:clr>
            <a:srgbClr val="F26B43"/>
          </p15:clr>
        </p15:guide>
        <p15:guide id="3" orient="horz" pos="678" userDrawn="1">
          <p15:clr>
            <a:srgbClr val="F26B43"/>
          </p15:clr>
        </p15:guide>
        <p15:guide id="4" pos="5536" userDrawn="1">
          <p15:clr>
            <a:srgbClr val="F26B43"/>
          </p15:clr>
        </p15:guide>
        <p15:guide id="5" pos="22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620" userDrawn="1">
          <p15:clr>
            <a:srgbClr val="F26B43"/>
          </p15:clr>
        </p15:guide>
        <p15:guide id="8" orient="horz" pos="2837" userDrawn="1">
          <p15:clr>
            <a:srgbClr val="F26B43"/>
          </p15:clr>
        </p15:guide>
        <p15:guide id="9" orient="horz" pos="159" userDrawn="1">
          <p15:clr>
            <a:srgbClr val="F26B43"/>
          </p15:clr>
        </p15:guide>
        <p15:guide id="10" orient="horz" pos="5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5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310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1" name="think-cell Folie" r:id="rId6" imgW="413" imgH="416" progId="TCLayout.ActiveDocument.1">
                  <p:embed/>
                </p:oleObj>
              </mc:Choice>
              <mc:Fallback>
                <p:oleObj name="think-cell Folie" r:id="rId6" imgW="413" imgH="4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72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CE40764-D88E-4232-92E8-E7D6C71217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000" y="1692000"/>
            <a:ext cx="7751649" cy="2205732"/>
          </a:xfrm>
        </p:spPr>
        <p:txBody>
          <a:bodyPr/>
          <a:lstStyle/>
          <a:p>
            <a:r>
              <a:rPr lang="en-US" sz="3200" b="1" dirty="0" smtClean="0"/>
              <a:t>Module 3: </a:t>
            </a:r>
            <a:br>
              <a:rPr lang="en-US" sz="3200" b="1" dirty="0" smtClean="0"/>
            </a:br>
            <a:r>
              <a:rPr lang="en-US" sz="3200" b="1" dirty="0" smtClean="0"/>
              <a:t>International Tourism Management, Intercultural and Innovation Management 	</a:t>
            </a:r>
            <a:endParaRPr lang="en-US" sz="3200" b="1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D8DFD19-7C3C-475F-92BD-0089CE94CD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4000" y="1080000"/>
            <a:ext cx="3462486" cy="384721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Innovation Management </a:t>
            </a:r>
            <a:r>
              <a:rPr lang="en-US" dirty="0"/>
              <a:t>	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smtClean="0"/>
              <a:t>Christina Koch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BFF4DF29-26AB-4D40-90F9-580C8A8F9033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04000" y="3663923"/>
            <a:ext cx="940963" cy="153888"/>
          </a:xfrm>
        </p:spPr>
        <p:txBody>
          <a:bodyPr/>
          <a:lstStyle/>
          <a:p>
            <a:fld id="{1B97DB51-9270-4A56-A428-3BDF7AD7859E}" type="datetime1">
              <a:rPr lang="de-DE" smtClean="0"/>
              <a:t>14.09.2020</a:t>
            </a:fld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649" y="255655"/>
            <a:ext cx="799140" cy="331643"/>
          </a:xfrm>
          <a:prstGeom prst="rect">
            <a:avLst/>
          </a:prstGeom>
        </p:spPr>
      </p:pic>
      <p:sp>
        <p:nvSpPr>
          <p:cNvPr id="12" name="Freeform 1009">
            <a:extLst>
              <a:ext uri="{FF2B5EF4-FFF2-40B4-BE49-F238E27FC236}">
                <a16:creationId xmlns:a16="http://schemas.microsoft.com/office/drawing/2014/main" id="{8C583069-53F2-4464-843F-18B5B4A77FC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13176" y="1109045"/>
            <a:ext cx="642473" cy="957647"/>
          </a:xfrm>
          <a:custGeom>
            <a:avLst/>
            <a:gdLst>
              <a:gd name="T0" fmla="*/ 301 w 335"/>
              <a:gd name="T1" fmla="*/ 234 h 502"/>
              <a:gd name="T2" fmla="*/ 246 w 335"/>
              <a:gd name="T3" fmla="*/ 328 h 502"/>
              <a:gd name="T4" fmla="*/ 262 w 335"/>
              <a:gd name="T5" fmla="*/ 355 h 502"/>
              <a:gd name="T6" fmla="*/ 253 w 335"/>
              <a:gd name="T7" fmla="*/ 376 h 502"/>
              <a:gd name="T8" fmla="*/ 262 w 335"/>
              <a:gd name="T9" fmla="*/ 397 h 502"/>
              <a:gd name="T10" fmla="*/ 247 w 335"/>
              <a:gd name="T11" fmla="*/ 424 h 502"/>
              <a:gd name="T12" fmla="*/ 251 w 335"/>
              <a:gd name="T13" fmla="*/ 439 h 502"/>
              <a:gd name="T14" fmla="*/ 216 w 335"/>
              <a:gd name="T15" fmla="*/ 470 h 502"/>
              <a:gd name="T16" fmla="*/ 168 w 335"/>
              <a:gd name="T17" fmla="*/ 502 h 502"/>
              <a:gd name="T18" fmla="*/ 120 w 335"/>
              <a:gd name="T19" fmla="*/ 470 h 502"/>
              <a:gd name="T20" fmla="*/ 84 w 335"/>
              <a:gd name="T21" fmla="*/ 439 h 502"/>
              <a:gd name="T22" fmla="*/ 88 w 335"/>
              <a:gd name="T23" fmla="*/ 424 h 502"/>
              <a:gd name="T24" fmla="*/ 73 w 335"/>
              <a:gd name="T25" fmla="*/ 397 h 502"/>
              <a:gd name="T26" fmla="*/ 82 w 335"/>
              <a:gd name="T27" fmla="*/ 376 h 502"/>
              <a:gd name="T28" fmla="*/ 73 w 335"/>
              <a:gd name="T29" fmla="*/ 355 h 502"/>
              <a:gd name="T30" fmla="*/ 89 w 335"/>
              <a:gd name="T31" fmla="*/ 328 h 502"/>
              <a:gd name="T32" fmla="*/ 34 w 335"/>
              <a:gd name="T33" fmla="*/ 234 h 502"/>
              <a:gd name="T34" fmla="*/ 0 w 335"/>
              <a:gd name="T35" fmla="*/ 146 h 502"/>
              <a:gd name="T36" fmla="*/ 168 w 335"/>
              <a:gd name="T37" fmla="*/ 0 h 502"/>
              <a:gd name="T38" fmla="*/ 335 w 335"/>
              <a:gd name="T39" fmla="*/ 146 h 502"/>
              <a:gd name="T40" fmla="*/ 301 w 335"/>
              <a:gd name="T41" fmla="*/ 234 h 502"/>
              <a:gd name="T42" fmla="*/ 168 w 335"/>
              <a:gd name="T43" fmla="*/ 42 h 502"/>
              <a:gd name="T44" fmla="*/ 42 w 335"/>
              <a:gd name="T45" fmla="*/ 146 h 502"/>
              <a:gd name="T46" fmla="*/ 64 w 335"/>
              <a:gd name="T47" fmla="*/ 205 h 502"/>
              <a:gd name="T48" fmla="*/ 84 w 335"/>
              <a:gd name="T49" fmla="*/ 226 h 502"/>
              <a:gd name="T50" fmla="*/ 130 w 335"/>
              <a:gd name="T51" fmla="*/ 324 h 502"/>
              <a:gd name="T52" fmla="*/ 205 w 335"/>
              <a:gd name="T53" fmla="*/ 324 h 502"/>
              <a:gd name="T54" fmla="*/ 251 w 335"/>
              <a:gd name="T55" fmla="*/ 226 h 502"/>
              <a:gd name="T56" fmla="*/ 271 w 335"/>
              <a:gd name="T57" fmla="*/ 205 h 502"/>
              <a:gd name="T58" fmla="*/ 293 w 335"/>
              <a:gd name="T59" fmla="*/ 146 h 502"/>
              <a:gd name="T60" fmla="*/ 168 w 335"/>
              <a:gd name="T61" fmla="*/ 42 h 502"/>
              <a:gd name="T62" fmla="*/ 230 w 335"/>
              <a:gd name="T63" fmla="*/ 157 h 502"/>
              <a:gd name="T64" fmla="*/ 220 w 335"/>
              <a:gd name="T65" fmla="*/ 146 h 502"/>
              <a:gd name="T66" fmla="*/ 168 w 335"/>
              <a:gd name="T67" fmla="*/ 115 h 502"/>
              <a:gd name="T68" fmla="*/ 157 w 335"/>
              <a:gd name="T69" fmla="*/ 104 h 502"/>
              <a:gd name="T70" fmla="*/ 168 w 335"/>
              <a:gd name="T71" fmla="*/ 94 h 502"/>
              <a:gd name="T72" fmla="*/ 241 w 335"/>
              <a:gd name="T73" fmla="*/ 146 h 502"/>
              <a:gd name="T74" fmla="*/ 230 w 335"/>
              <a:gd name="T75" fmla="*/ 157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35" h="502">
                <a:moveTo>
                  <a:pt x="301" y="234"/>
                </a:moveTo>
                <a:cubicBezTo>
                  <a:pt x="279" y="259"/>
                  <a:pt x="249" y="293"/>
                  <a:pt x="246" y="328"/>
                </a:cubicBezTo>
                <a:cubicBezTo>
                  <a:pt x="256" y="334"/>
                  <a:pt x="262" y="344"/>
                  <a:pt x="262" y="355"/>
                </a:cubicBezTo>
                <a:cubicBezTo>
                  <a:pt x="262" y="363"/>
                  <a:pt x="259" y="371"/>
                  <a:pt x="253" y="376"/>
                </a:cubicBezTo>
                <a:cubicBezTo>
                  <a:pt x="259" y="382"/>
                  <a:pt x="262" y="389"/>
                  <a:pt x="262" y="397"/>
                </a:cubicBezTo>
                <a:cubicBezTo>
                  <a:pt x="262" y="408"/>
                  <a:pt x="256" y="418"/>
                  <a:pt x="247" y="424"/>
                </a:cubicBezTo>
                <a:cubicBezTo>
                  <a:pt x="250" y="428"/>
                  <a:pt x="251" y="434"/>
                  <a:pt x="251" y="439"/>
                </a:cubicBezTo>
                <a:cubicBezTo>
                  <a:pt x="251" y="460"/>
                  <a:pt x="235" y="470"/>
                  <a:pt x="216" y="470"/>
                </a:cubicBezTo>
                <a:cubicBezTo>
                  <a:pt x="207" y="489"/>
                  <a:pt x="188" y="502"/>
                  <a:pt x="168" y="502"/>
                </a:cubicBezTo>
                <a:cubicBezTo>
                  <a:pt x="147" y="502"/>
                  <a:pt x="128" y="489"/>
                  <a:pt x="120" y="470"/>
                </a:cubicBezTo>
                <a:cubicBezTo>
                  <a:pt x="101" y="470"/>
                  <a:pt x="84" y="460"/>
                  <a:pt x="84" y="439"/>
                </a:cubicBezTo>
                <a:cubicBezTo>
                  <a:pt x="84" y="434"/>
                  <a:pt x="86" y="428"/>
                  <a:pt x="88" y="424"/>
                </a:cubicBezTo>
                <a:cubicBezTo>
                  <a:pt x="79" y="418"/>
                  <a:pt x="73" y="408"/>
                  <a:pt x="73" y="397"/>
                </a:cubicBezTo>
                <a:cubicBezTo>
                  <a:pt x="73" y="389"/>
                  <a:pt x="76" y="382"/>
                  <a:pt x="82" y="376"/>
                </a:cubicBezTo>
                <a:cubicBezTo>
                  <a:pt x="76" y="371"/>
                  <a:pt x="73" y="363"/>
                  <a:pt x="73" y="355"/>
                </a:cubicBezTo>
                <a:cubicBezTo>
                  <a:pt x="73" y="344"/>
                  <a:pt x="79" y="334"/>
                  <a:pt x="89" y="328"/>
                </a:cubicBezTo>
                <a:cubicBezTo>
                  <a:pt x="86" y="293"/>
                  <a:pt x="56" y="259"/>
                  <a:pt x="34" y="234"/>
                </a:cubicBezTo>
                <a:cubicBezTo>
                  <a:pt x="11" y="209"/>
                  <a:pt x="0" y="180"/>
                  <a:pt x="0" y="146"/>
                </a:cubicBezTo>
                <a:cubicBezTo>
                  <a:pt x="0" y="57"/>
                  <a:pt x="85" y="0"/>
                  <a:pt x="168" y="0"/>
                </a:cubicBezTo>
                <a:cubicBezTo>
                  <a:pt x="250" y="0"/>
                  <a:pt x="335" y="57"/>
                  <a:pt x="335" y="146"/>
                </a:cubicBezTo>
                <a:cubicBezTo>
                  <a:pt x="335" y="180"/>
                  <a:pt x="324" y="209"/>
                  <a:pt x="301" y="234"/>
                </a:cubicBezTo>
                <a:close/>
                <a:moveTo>
                  <a:pt x="168" y="42"/>
                </a:moveTo>
                <a:cubicBezTo>
                  <a:pt x="108" y="42"/>
                  <a:pt x="42" y="81"/>
                  <a:pt x="42" y="146"/>
                </a:cubicBezTo>
                <a:cubicBezTo>
                  <a:pt x="42" y="167"/>
                  <a:pt x="51" y="189"/>
                  <a:pt x="64" y="205"/>
                </a:cubicBezTo>
                <a:cubicBezTo>
                  <a:pt x="71" y="212"/>
                  <a:pt x="78" y="219"/>
                  <a:pt x="84" y="226"/>
                </a:cubicBezTo>
                <a:cubicBezTo>
                  <a:pt x="107" y="254"/>
                  <a:pt x="127" y="287"/>
                  <a:pt x="130" y="324"/>
                </a:cubicBezTo>
                <a:cubicBezTo>
                  <a:pt x="205" y="324"/>
                  <a:pt x="205" y="324"/>
                  <a:pt x="205" y="324"/>
                </a:cubicBezTo>
                <a:cubicBezTo>
                  <a:pt x="208" y="287"/>
                  <a:pt x="228" y="254"/>
                  <a:pt x="251" y="226"/>
                </a:cubicBezTo>
                <a:cubicBezTo>
                  <a:pt x="257" y="219"/>
                  <a:pt x="265" y="212"/>
                  <a:pt x="271" y="205"/>
                </a:cubicBezTo>
                <a:cubicBezTo>
                  <a:pt x="285" y="189"/>
                  <a:pt x="293" y="167"/>
                  <a:pt x="293" y="146"/>
                </a:cubicBezTo>
                <a:cubicBezTo>
                  <a:pt x="293" y="81"/>
                  <a:pt x="227" y="42"/>
                  <a:pt x="168" y="42"/>
                </a:cubicBezTo>
                <a:close/>
                <a:moveTo>
                  <a:pt x="230" y="157"/>
                </a:moveTo>
                <a:cubicBezTo>
                  <a:pt x="225" y="157"/>
                  <a:pt x="220" y="152"/>
                  <a:pt x="220" y="146"/>
                </a:cubicBezTo>
                <a:cubicBezTo>
                  <a:pt x="220" y="124"/>
                  <a:pt x="185" y="115"/>
                  <a:pt x="168" y="115"/>
                </a:cubicBezTo>
                <a:cubicBezTo>
                  <a:pt x="162" y="115"/>
                  <a:pt x="157" y="110"/>
                  <a:pt x="157" y="104"/>
                </a:cubicBezTo>
                <a:cubicBezTo>
                  <a:pt x="157" y="99"/>
                  <a:pt x="162" y="94"/>
                  <a:pt x="168" y="94"/>
                </a:cubicBezTo>
                <a:cubicBezTo>
                  <a:pt x="198" y="94"/>
                  <a:pt x="241" y="110"/>
                  <a:pt x="241" y="146"/>
                </a:cubicBezTo>
                <a:cubicBezTo>
                  <a:pt x="241" y="152"/>
                  <a:pt x="236" y="157"/>
                  <a:pt x="230" y="157"/>
                </a:cubicBezTo>
                <a:close/>
              </a:path>
            </a:pathLst>
          </a:custGeom>
          <a:solidFill>
            <a:srgbClr val="0516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05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34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4"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novation network boosts your mind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33D53AB-770F-4150-B16A-6D9C4FE8DD3B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novation Managemen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3370028" y="1079999"/>
            <a:ext cx="5413971" cy="1785104"/>
          </a:xfrm>
        </p:spPr>
        <p:txBody>
          <a:bodyPr/>
          <a:lstStyle/>
          <a:p>
            <a:r>
              <a:rPr lang="en-US" sz="1200" dirty="0" smtClean="0"/>
              <a:t>1) What kind of INTERNAL innovation network platforms can you think of or are established in your company?</a:t>
            </a:r>
          </a:p>
          <a:p>
            <a:r>
              <a:rPr lang="en-US" sz="1200" dirty="0" smtClean="0"/>
              <a:t>2) What kind of EXTERNAL innovation network platforms do you know or participate in?</a:t>
            </a:r>
          </a:p>
          <a:p>
            <a:endParaRPr lang="en-US" sz="1800" b="1" dirty="0"/>
          </a:p>
          <a:p>
            <a:r>
              <a:rPr lang="en-US" sz="1800" b="1" dirty="0" smtClean="0"/>
              <a:t>Let’s apply the 6-3-5-brainwriting method!</a:t>
            </a:r>
          </a:p>
          <a:p>
            <a:r>
              <a:rPr lang="en-US" sz="1200" dirty="0" smtClean="0"/>
              <a:t>6 participants, 3 ideas each, 5 swaps (minutes)</a:t>
            </a:r>
            <a:endParaRPr lang="en-US" sz="1200" dirty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293676" cy="8476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ction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872350" y="3508897"/>
            <a:ext cx="3617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9B144D13-0BE6-463B-B768-7972EC1AD9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8411" y="1512007"/>
            <a:ext cx="2797991" cy="2352501"/>
            <a:chOff x="1806" y="717"/>
            <a:chExt cx="2148" cy="1806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7CB225D3-EBED-476D-8B2B-A02A7EC4C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" y="1469"/>
              <a:ext cx="127" cy="527"/>
            </a:xfrm>
            <a:custGeom>
              <a:avLst/>
              <a:gdLst>
                <a:gd name="T0" fmla="*/ 0 w 42"/>
                <a:gd name="T1" fmla="*/ 2 h 174"/>
                <a:gd name="T2" fmla="*/ 12 w 42"/>
                <a:gd name="T3" fmla="*/ 174 h 174"/>
                <a:gd name="T4" fmla="*/ 32 w 42"/>
                <a:gd name="T5" fmla="*/ 172 h 174"/>
                <a:gd name="T6" fmla="*/ 32 w 42"/>
                <a:gd name="T7" fmla="*/ 172 h 174"/>
                <a:gd name="T8" fmla="*/ 38 w 42"/>
                <a:gd name="T9" fmla="*/ 172 h 174"/>
                <a:gd name="T10" fmla="*/ 42 w 42"/>
                <a:gd name="T11" fmla="*/ 173 h 174"/>
                <a:gd name="T12" fmla="*/ 30 w 42"/>
                <a:gd name="T13" fmla="*/ 0 h 174"/>
                <a:gd name="T14" fmla="*/ 8 w 42"/>
                <a:gd name="T15" fmla="*/ 2 h 174"/>
                <a:gd name="T16" fmla="*/ 0 w 42"/>
                <a:gd name="T17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74">
                  <a:moveTo>
                    <a:pt x="0" y="2"/>
                  </a:moveTo>
                  <a:cubicBezTo>
                    <a:pt x="12" y="174"/>
                    <a:pt x="12" y="174"/>
                    <a:pt x="12" y="174"/>
                  </a:cubicBezTo>
                  <a:cubicBezTo>
                    <a:pt x="18" y="173"/>
                    <a:pt x="25" y="172"/>
                    <a:pt x="32" y="172"/>
                  </a:cubicBezTo>
                  <a:cubicBezTo>
                    <a:pt x="32" y="172"/>
                    <a:pt x="32" y="172"/>
                    <a:pt x="32" y="172"/>
                  </a:cubicBezTo>
                  <a:cubicBezTo>
                    <a:pt x="34" y="172"/>
                    <a:pt x="36" y="172"/>
                    <a:pt x="38" y="172"/>
                  </a:cubicBezTo>
                  <a:cubicBezTo>
                    <a:pt x="39" y="172"/>
                    <a:pt x="40" y="172"/>
                    <a:pt x="42" y="173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3" y="1"/>
                    <a:pt x="16" y="2"/>
                    <a:pt x="8" y="2"/>
                  </a:cubicBezTo>
                  <a:cubicBezTo>
                    <a:pt x="5" y="2"/>
                    <a:pt x="3" y="2"/>
                    <a:pt x="0" y="2"/>
                  </a:cubicBezTo>
                  <a:close/>
                </a:path>
              </a:pathLst>
            </a:cu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F544892-B971-462A-83AD-525B25527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156"/>
              <a:ext cx="1108" cy="188"/>
            </a:xfrm>
            <a:custGeom>
              <a:avLst/>
              <a:gdLst>
                <a:gd name="T0" fmla="*/ 365 w 366"/>
                <a:gd name="T1" fmla="*/ 42 h 62"/>
                <a:gd name="T2" fmla="*/ 366 w 366"/>
                <a:gd name="T3" fmla="*/ 32 h 62"/>
                <a:gd name="T4" fmla="*/ 7 w 366"/>
                <a:gd name="T5" fmla="*/ 0 h 62"/>
                <a:gd name="T6" fmla="*/ 0 w 366"/>
                <a:gd name="T7" fmla="*/ 30 h 62"/>
                <a:gd name="T8" fmla="*/ 366 w 366"/>
                <a:gd name="T9" fmla="*/ 62 h 62"/>
                <a:gd name="T10" fmla="*/ 365 w 366"/>
                <a:gd name="T11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6" h="62">
                  <a:moveTo>
                    <a:pt x="365" y="42"/>
                  </a:moveTo>
                  <a:cubicBezTo>
                    <a:pt x="365" y="39"/>
                    <a:pt x="366" y="35"/>
                    <a:pt x="366" y="3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0"/>
                    <a:pt x="4" y="20"/>
                    <a:pt x="0" y="30"/>
                  </a:cubicBezTo>
                  <a:cubicBezTo>
                    <a:pt x="366" y="62"/>
                    <a:pt x="366" y="62"/>
                    <a:pt x="366" y="62"/>
                  </a:cubicBezTo>
                  <a:cubicBezTo>
                    <a:pt x="365" y="55"/>
                    <a:pt x="365" y="49"/>
                    <a:pt x="365" y="42"/>
                  </a:cubicBezTo>
                  <a:close/>
                </a:path>
              </a:pathLst>
            </a:cu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0F06F3DF-14BF-4413-A8AD-AB85A2129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6" y="1202"/>
              <a:ext cx="312" cy="645"/>
            </a:xfrm>
            <a:custGeom>
              <a:avLst/>
              <a:gdLst>
                <a:gd name="T0" fmla="*/ 103 w 103"/>
                <a:gd name="T1" fmla="*/ 12 h 213"/>
                <a:gd name="T2" fmla="*/ 75 w 103"/>
                <a:gd name="T3" fmla="*/ 0 h 213"/>
                <a:gd name="T4" fmla="*/ 0 w 103"/>
                <a:gd name="T5" fmla="*/ 205 h 213"/>
                <a:gd name="T6" fmla="*/ 29 w 103"/>
                <a:gd name="T7" fmla="*/ 213 h 213"/>
                <a:gd name="T8" fmla="*/ 103 w 103"/>
                <a:gd name="T9" fmla="*/ 1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213">
                  <a:moveTo>
                    <a:pt x="103" y="12"/>
                  </a:moveTo>
                  <a:cubicBezTo>
                    <a:pt x="93" y="9"/>
                    <a:pt x="84" y="5"/>
                    <a:pt x="75" y="0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0" y="206"/>
                    <a:pt x="20" y="209"/>
                    <a:pt x="29" y="213"/>
                  </a:cubicBezTo>
                  <a:lnTo>
                    <a:pt x="103" y="12"/>
                  </a:lnTo>
                  <a:close/>
                </a:path>
              </a:pathLst>
            </a:cu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9B86DACC-A122-4A90-9FA0-8A672E3CA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4" y="1138"/>
              <a:ext cx="1265" cy="976"/>
            </a:xfrm>
            <a:custGeom>
              <a:avLst/>
              <a:gdLst>
                <a:gd name="T0" fmla="*/ 271 w 418"/>
                <a:gd name="T1" fmla="*/ 143 h 322"/>
                <a:gd name="T2" fmla="*/ 380 w 418"/>
                <a:gd name="T3" fmla="*/ 78 h 322"/>
                <a:gd name="T4" fmla="*/ 363 w 418"/>
                <a:gd name="T5" fmla="*/ 53 h 322"/>
                <a:gd name="T6" fmla="*/ 250 w 418"/>
                <a:gd name="T7" fmla="*/ 121 h 322"/>
                <a:gd name="T8" fmla="*/ 138 w 418"/>
                <a:gd name="T9" fmla="*/ 0 h 322"/>
                <a:gd name="T10" fmla="*/ 115 w 418"/>
                <a:gd name="T11" fmla="*/ 20 h 322"/>
                <a:gd name="T12" fmla="*/ 224 w 418"/>
                <a:gd name="T13" fmla="*/ 136 h 322"/>
                <a:gd name="T14" fmla="*/ 0 w 418"/>
                <a:gd name="T15" fmla="*/ 270 h 322"/>
                <a:gd name="T16" fmla="*/ 13 w 418"/>
                <a:gd name="T17" fmla="*/ 298 h 322"/>
                <a:gd name="T18" fmla="*/ 245 w 418"/>
                <a:gd name="T19" fmla="*/ 159 h 322"/>
                <a:gd name="T20" fmla="*/ 397 w 418"/>
                <a:gd name="T21" fmla="*/ 322 h 322"/>
                <a:gd name="T22" fmla="*/ 418 w 418"/>
                <a:gd name="T23" fmla="*/ 301 h 322"/>
                <a:gd name="T24" fmla="*/ 271 w 418"/>
                <a:gd name="T25" fmla="*/ 14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8" h="322">
                  <a:moveTo>
                    <a:pt x="271" y="143"/>
                  </a:moveTo>
                  <a:cubicBezTo>
                    <a:pt x="380" y="78"/>
                    <a:pt x="380" y="78"/>
                    <a:pt x="380" y="78"/>
                  </a:cubicBezTo>
                  <a:cubicBezTo>
                    <a:pt x="373" y="71"/>
                    <a:pt x="367" y="62"/>
                    <a:pt x="363" y="53"/>
                  </a:cubicBezTo>
                  <a:cubicBezTo>
                    <a:pt x="250" y="121"/>
                    <a:pt x="250" y="121"/>
                    <a:pt x="250" y="121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1" y="8"/>
                    <a:pt x="123" y="15"/>
                    <a:pt x="115" y="2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6" y="279"/>
                    <a:pt x="10" y="288"/>
                    <a:pt x="13" y="298"/>
                  </a:cubicBezTo>
                  <a:cubicBezTo>
                    <a:pt x="245" y="159"/>
                    <a:pt x="245" y="159"/>
                    <a:pt x="245" y="159"/>
                  </a:cubicBezTo>
                  <a:cubicBezTo>
                    <a:pt x="397" y="322"/>
                    <a:pt x="397" y="322"/>
                    <a:pt x="397" y="322"/>
                  </a:cubicBezTo>
                  <a:cubicBezTo>
                    <a:pt x="403" y="314"/>
                    <a:pt x="410" y="307"/>
                    <a:pt x="418" y="301"/>
                  </a:cubicBezTo>
                  <a:lnTo>
                    <a:pt x="271" y="143"/>
                  </a:lnTo>
                  <a:close/>
                </a:path>
              </a:pathLst>
            </a:cu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0E0D9060-923B-4E58-91A0-6BF6BCC96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3" y="963"/>
              <a:ext cx="608" cy="200"/>
            </a:xfrm>
            <a:custGeom>
              <a:avLst/>
              <a:gdLst>
                <a:gd name="T0" fmla="*/ 197 w 201"/>
                <a:gd name="T1" fmla="*/ 66 h 66"/>
                <a:gd name="T2" fmla="*/ 201 w 201"/>
                <a:gd name="T3" fmla="*/ 36 h 66"/>
                <a:gd name="T4" fmla="*/ 7 w 201"/>
                <a:gd name="T5" fmla="*/ 0 h 66"/>
                <a:gd name="T6" fmla="*/ 0 w 201"/>
                <a:gd name="T7" fmla="*/ 29 h 66"/>
                <a:gd name="T8" fmla="*/ 197 w 201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66">
                  <a:moveTo>
                    <a:pt x="197" y="66"/>
                  </a:moveTo>
                  <a:cubicBezTo>
                    <a:pt x="197" y="55"/>
                    <a:pt x="199" y="45"/>
                    <a:pt x="201" y="3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0"/>
                    <a:pt x="4" y="20"/>
                    <a:pt x="0" y="29"/>
                  </a:cubicBezTo>
                  <a:lnTo>
                    <a:pt x="197" y="66"/>
                  </a:lnTo>
                  <a:close/>
                </a:path>
              </a:pathLst>
            </a:cu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Oval 10">
              <a:extLst>
                <a:ext uri="{FF2B5EF4-FFF2-40B4-BE49-F238E27FC236}">
                  <a16:creationId xmlns:a16="http://schemas.microsoft.com/office/drawing/2014/main" id="{8743E52B-FC36-4D5D-8987-9A8BBA065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6" y="1911"/>
              <a:ext cx="442" cy="442"/>
            </a:xfrm>
            <a:prstGeom prst="ellipse">
              <a:avLst/>
            </a:pr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Oval 11">
              <a:extLst>
                <a:ext uri="{FF2B5EF4-FFF2-40B4-BE49-F238E27FC236}">
                  <a16:creationId xmlns:a16="http://schemas.microsoft.com/office/drawing/2014/main" id="{C71F68A8-BE09-4C14-A520-66563ED3FC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2" y="717"/>
              <a:ext cx="441" cy="443"/>
            </a:xfrm>
            <a:prstGeom prst="ellipse">
              <a:avLst/>
            </a:pr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3A34990F-AD07-4EC6-9782-5609AC825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2" y="2081"/>
              <a:ext cx="442" cy="442"/>
            </a:xfrm>
            <a:prstGeom prst="ellipse">
              <a:avLst/>
            </a:pr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Oval 13">
              <a:extLst>
                <a:ext uri="{FF2B5EF4-FFF2-40B4-BE49-F238E27FC236}">
                  <a16:creationId xmlns:a16="http://schemas.microsoft.com/office/drawing/2014/main" id="{51149D69-192D-42D0-8872-CF5D5FB47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0" y="941"/>
              <a:ext cx="441" cy="443"/>
            </a:xfrm>
            <a:prstGeom prst="ellipse">
              <a:avLst/>
            </a:prstGeom>
            <a:solidFill>
              <a:srgbClr val="051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" name="Rechteck 9"/>
          <p:cNvSpPr/>
          <p:nvPr/>
        </p:nvSpPr>
        <p:spPr>
          <a:xfrm>
            <a:off x="1685299" y="4645941"/>
            <a:ext cx="6744534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600" dirty="0">
                <a:latin typeface="Arial" panose="020B0604020202020204" pitchFamily="34" charset="0"/>
                <a:cs typeface="Arial" panose="020B0604020202020204" pitchFamily="34" charset="0"/>
              </a:rPr>
              <a:t>Bernd Rohrbach: </a:t>
            </a:r>
            <a:r>
              <a:rPr lang="de-DE" sz="600" i="1" dirty="0">
                <a:latin typeface="Arial" panose="020B0604020202020204" pitchFamily="34" charset="0"/>
                <a:cs typeface="Arial" panose="020B0604020202020204" pitchFamily="34" charset="0"/>
              </a:rPr>
              <a:t>Kreativ nach Regeln – Methode 635, eine neue Technik zum Lösen von Problemen.</a:t>
            </a:r>
            <a:r>
              <a:rPr lang="de-DE" sz="600" dirty="0">
                <a:latin typeface="Arial" panose="020B0604020202020204" pitchFamily="34" charset="0"/>
                <a:cs typeface="Arial" panose="020B0604020202020204" pitchFamily="34" charset="0"/>
              </a:rPr>
              <a:t> In: </a:t>
            </a:r>
            <a:r>
              <a:rPr lang="de-DE" sz="600" i="1" dirty="0">
                <a:latin typeface="Arial" panose="020B0604020202020204" pitchFamily="34" charset="0"/>
                <a:cs typeface="Arial" panose="020B0604020202020204" pitchFamily="34" charset="0"/>
              </a:rPr>
              <a:t>Absatzwirtschaft.</a:t>
            </a:r>
            <a:r>
              <a:rPr lang="de-DE" sz="600" dirty="0">
                <a:latin typeface="Arial" panose="020B0604020202020204" pitchFamily="34" charset="0"/>
                <a:cs typeface="Arial" panose="020B0604020202020204" pitchFamily="34" charset="0"/>
              </a:rPr>
              <a:t> 12, Heft 19, 1. Oktober 1969, S. 73–76. </a:t>
            </a:r>
          </a:p>
        </p:txBody>
      </p:sp>
    </p:spTree>
    <p:extLst>
      <p:ext uri="{BB962C8B-B14F-4D97-AF65-F5344CB8AC3E}">
        <p14:creationId xmlns:p14="http://schemas.microsoft.com/office/powerpoint/2010/main" val="102714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23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4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kind of </a:t>
            </a:r>
            <a:r>
              <a:rPr lang="en-US" b="1" dirty="0"/>
              <a:t>INTERNAL</a:t>
            </a:r>
            <a:r>
              <a:rPr lang="en-US" dirty="0"/>
              <a:t> innovation network platforms can you think of or are established in your company</a:t>
            </a:r>
            <a:r>
              <a:rPr lang="en-US" dirty="0" smtClean="0"/>
              <a:t>?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33D53AB-770F-4150-B16A-6D9C4FE8DD3B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novation Managemen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24FC5C34-D08E-4997-B9A2-C24D992D5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369079"/>
              </p:ext>
            </p:extLst>
          </p:nvPr>
        </p:nvGraphicFramePr>
        <p:xfrm>
          <a:off x="360000" y="1080000"/>
          <a:ext cx="8423640" cy="35263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4728">
                  <a:extLst>
                    <a:ext uri="{9D8B030D-6E8A-4147-A177-3AD203B41FA5}">
                      <a16:colId xmlns:a16="http://schemas.microsoft.com/office/drawing/2014/main" val="4231878840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3568021755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3222328148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2740882460"/>
                    </a:ext>
                  </a:extLst>
                </a:gridCol>
              </a:tblGrid>
              <a:tr h="503768">
                <a:tc>
                  <a:txBody>
                    <a:bodyPr/>
                    <a:lstStyle/>
                    <a:p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st IDEA 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nd IDEA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rd IDEA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1118236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7025545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06771928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1313458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6847778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0100444"/>
                  </a:ext>
                </a:extLst>
              </a:tr>
              <a:tr h="503768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39472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072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770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8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kind of </a:t>
            </a:r>
            <a:r>
              <a:rPr lang="en-US" b="1" dirty="0"/>
              <a:t>EXTERNAL</a:t>
            </a:r>
            <a:r>
              <a:rPr lang="en-US" dirty="0"/>
              <a:t> innovation network platforms do you know or participate in?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33D53AB-770F-4150-B16A-6D9C4FE8DD3B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nnovation Management</a:t>
            </a:r>
            <a:endParaRPr lang="de-DE" dirty="0"/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24FC5C34-D08E-4997-B9A2-C24D992D5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96811"/>
              </p:ext>
            </p:extLst>
          </p:nvPr>
        </p:nvGraphicFramePr>
        <p:xfrm>
          <a:off x="360000" y="1080000"/>
          <a:ext cx="8423640" cy="36202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4728">
                  <a:extLst>
                    <a:ext uri="{9D8B030D-6E8A-4147-A177-3AD203B41FA5}">
                      <a16:colId xmlns:a16="http://schemas.microsoft.com/office/drawing/2014/main" val="4231878840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3568021755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3222328148"/>
                    </a:ext>
                  </a:extLst>
                </a:gridCol>
                <a:gridCol w="2246304">
                  <a:extLst>
                    <a:ext uri="{9D8B030D-6E8A-4147-A177-3AD203B41FA5}">
                      <a16:colId xmlns:a16="http://schemas.microsoft.com/office/drawing/2014/main" val="2740882460"/>
                    </a:ext>
                  </a:extLst>
                </a:gridCol>
              </a:tblGrid>
              <a:tr h="517176">
                <a:tc>
                  <a:txBody>
                    <a:bodyPr/>
                    <a:lstStyle/>
                    <a:p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st IDEA 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nd IDEA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rd IDEA</a:t>
                      </a:r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1118236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7025545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06771928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81313458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6847778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0100444"/>
                  </a:ext>
                </a:extLst>
              </a:tr>
              <a:tr h="517176">
                <a:tc>
                  <a:txBody>
                    <a:bodyPr/>
                    <a:lstStyle/>
                    <a:p>
                      <a:endParaRPr lang="de-DE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39472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792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9eade78-6f92-41e1-8fc2-cb017204e50e"/>
  <p:tag name="EE4P_AGENDAWIZARD" val="&lt;ee4p&gt;&lt;layouts&gt;&lt;layout name=&quot;LGBS Circle&quot; id=&quot;599_1&quot;&gt;&lt;standard&gt;&lt;textframe horizontalAnchor=&quot;1&quot; marginBottom=&quot;10&quot; marginLeft=&quot;0&quot; marginRight=&quot;0&quot; marginTop=&quot;10&quot; orientation=&quot;1&quot; verticalAnchor=&quot;1&quot; /&gt;&lt;font name=&quot;Lufthansa Office Text&quot; bold=&quot;0&quot; italic=&quot;0&quot; color=&quot;5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7.15937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28.34646&quot; top=&quot;85.03937&quot; width=&quot;663.2787&quot; height=&quot;269.3399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marginBottom=&quot;6&quot; marginTop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((level-0.5)*37.15937+(level-1)*5)*scale*fontScale&quot; top=&quot;0&quot; width=&quot;agendaWidth-(((level-0.5)*37.15937+(level-1)*5)*scale*fontScale)&quot; height=&quot;itemHeight&quot; /&gt;&lt;fill foreColor=&quot;9&quot; visible=&quot;1&quot; /&gt;&lt;/element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8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/element&gt;&lt;element field=&quot;freecolumn&quot; type=&quot;autoshape&quot; autoShapeType=&quot;1&quot; indent=&quot;(level-1)*44.58284*scale*fontScale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5&quot; visible=&quot;1&quot; /&gt;&lt;line foreColor=&quot;#ffffff&quot; visible=&quot;1&quot; weight=&quot;4&quot; /&gt;&lt;font bold=&quot;1&quot; color=&quot;14&quot; /&gt;&lt;/element&gt;&lt;element field=&quot;topic&quot; type=&quot;autoshape&quot; autoShapeType=&quot;1&quot; indent=&quot;(level-1)*44.58284*scale*fontScale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field=&quot;itemno&quot; type=&quot;autoshape&quot; autoShapeType=&quot;9&quot; indent=&quot;(level-1)*44.58284*scale*fontScale&quot; indentType=&quot;1&quot;&gt;&lt;position height=&quot;itemSingleHeight&quot; top=&quot;(itemHeight-itemSingleHeight)/2&quot; /&gt;&lt;textframe marginLeft=&quot;6&quot; marginRight=&quot;6&quot; verticalAnchor=&quot;3&quot; /&gt;&lt;paragraphformat alignment=&quot;2&quot; /&gt;&lt;fill foreColor=&quot;8&quot; visible=&quot;1&quot; /&gt;&lt;line foreColor=&quot;#ffffff&quot; visible=&quot;1&quot; weight=&quot;4&quot; /&gt;&lt;font bold=&quot;1&quot; color=&quot;14&quot; /&gt;&lt;/element&gt;&lt;element type=&quot;autoshape&quot; autoShapeType=&quot;1&quot; value=&quot;&quot;&gt;&lt;position left=&quot;((level-0.5)*37.15937+(level-1)*5)*scale*fontScale&quot; top=&quot;0&quot; width=&quot;agendaWidth-(((level-0.5)*37.15937+(level-1)*5)*scale*fontScale)&quot; height=&quot;itemHeight&quot; /&gt;&lt;fill foreColor=&quot;9&quot; visible=&quot;1&quot; /&gt;&lt;/element&gt;&lt;element field=&quot;topic&quot; type=&quot;autoshape&quot; autoShapeType=&quot;1&quot; indent=&quot;(level-1)*44.58284*scale*fontScale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44.58284*scale*fontScale&quot; indentType=&quot;1&quot;&gt;&lt;paragraphformat alignment=&quot;1&quot; /&gt;&lt;font italic=&quot;1&quot; /&gt;&lt;/element&gt;&lt;element field=&quot;freecolumn&quot; type=&quot;autoshape&quot; autoShapeType=&quot;1&quot; indent=&quot;(level-1)*44.58284*scale*fontScale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4&quot; fontSizeAuto=&quot;1&quot; startTime=&quot;540&quot; timeFormatId=&quot;1&quot; startItemNo=&quot;1&quot; createSingleAgendaSlide=&quot;1&quot; createSeparatingSlides=&quot;1&quot; createBackupSlide=&quot;1&quot; layoutId=&quot;599_1&quot; hideSeparatingSlides=&quot;0&quot; createSections=&quot;0&quot; singleSlideId=&quot;4087fb1c-9a3a-4021-8225-c8e3a393ecc1&quot; backupSlideId=&quot;90b9167b-7c6f-4b83-95f9-03c77ba8ea30&quot;&gt;&lt;columns leftSpacing=&quot;0&quot; rightSpacing=&quot;0&quot;&gt;&lt;column field=&quot;itemno&quot; label=&quot;No.&quot; checked=&quot;1&quot; leftSpacing=&quot;0&quot; rightSpacing=&quot;0&quot; dock=&quot;1&quot; fixedWidth=&quot;37.15937&quot; /&gt;&lt;column field=&quot;topic&quot; label=&quot;Topic&quot; leftSpacing=&quot;5&quot; rightDistribute=&quot;1&quot; dock=&quot;1&quot; rightSpacing=&quot;235.0147&quot; /&gt;&lt;column field=&quot;responsible&quot; label=&quot;Responsible&quot; visible=&quot;1&quot; checked=&quot;1&quot; leftSpacing=&quot;10&quot; rightDistribute=&quot;1&quot; dock=&quot;1&quot; rightSpacing=&quot;235.0147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90&quot; id=&quot;6f197319-4029-45bb-b5ff-69a210f0782f&quot; parentId=&quot;&quot; level=&quot;1&quot; generateAgendaSlide=&quot;1&quot; showAgendaItem=&quot;1&quot; isBreak=&quot;0&quot; topic=&quot;asd&quot; agendaSlideId=&quot;86af4a37-3135-452d-a5f9-b763ed03d2c0&quot; /&gt;&lt;item duration=&quot;30&quot; id=&quot;057c681f-95d5-4082-8283-1ff054e94ff0&quot; parentId=&quot;&quot; level=&quot;1&quot; generateAgendaSlide=&quot;0&quot; showAgendaItem=&quot;0&quot; isBreak=&quot;0&quot; topic=&quot;BREAK&quot; /&gt;&lt;item duration=&quot;90&quot; id=&quot;f81d3d1f-0b9f-4f3c-9430-0a357106dc36&quot; parentId=&quot;&quot; level=&quot;1&quot; generateAgendaSlide=&quot;1&quot; showAgendaItem=&quot;1&quot; isBreak=&quot;0&quot; topic=&quot;ads&quot; agendaSlideId=&quot;367ab6ed-552b-4f5e-beca-bebb75d2b2f4&quot; /&gt;&lt;item duration=&quot;60&quot; id=&quot;830e3907-6d52-4821-a878-003c9a40aad7&quot; parentId=&quot;&quot; level=&quot;1&quot; generateAgendaSlide=&quot;0&quot; showAgendaItem=&quot;0&quot; isBreak=&quot;0&quot; topic=&quot;BREAK&quot; /&gt;&lt;item duration=&quot;90&quot; id=&quot;9275c898-c1f5-408e-8879-c1600ca19e6b&quot; parentId=&quot;&quot; level=&quot;1&quot; generateAgendaSlide=&quot;1&quot; showAgendaItem=&quot;1&quot; isBreak=&quot;0&quot; topic=&quot;aerat&quot; agendaSlideId=&quot;d0b02ee9-5c26-4b9e-814e-ca5515cddd6f&quot; /&gt;&lt;item duration=&quot;30&quot; id=&quot;89cf4c53-903f-4a71-a0cb-04cadcda6089&quot; parentId=&quot;&quot; level=&quot;1&quot; generateAgendaSlide=&quot;0&quot; showAgendaItem=&quot;0&quot; isBreak=&quot;0&quot; topic=&quot;BREAK&quot; /&gt;&lt;item duration=&quot;90&quot; id=&quot;9fa414e5-60e5-4102-ac1e-cb1cdddc957a&quot; parentId=&quot;&quot; level=&quot;1&quot; generateAgendaSlide=&quot;1&quot; showAgendaItem=&quot;1&quot; isBreak=&quot;0&quot; topic=&quot;asd&quot; agendaSlideId=&quot;2d31c02f-1acc-4ee1-baae-d1f214e78bc7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RrV6kiTiWfqFM0Igsc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g3eisTlGpGYRj_KfW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bg3eisTlGpGYRj_KfW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23_7vVT9.j6lK4HFft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EqZXIeSg.ups_OU3o5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IHvP8RByzDlzmqGLa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CgqPHR1C.LLtc7pFs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0rTjs.RFaEBcc4VSTV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cqXpdQYulqas31Fi8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Yhor_Ql6xxtB_mO9O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1IIDRSPuVXRsFVD0B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CadfsRTmi1dua5GsjR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hiFjGHTPOaQLNUwrkD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FsdKIew9cLabr7OJxx2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QTEOxAM22FZMDXeOfU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QTEOxAM22FZMDXeOfU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SFXKtUTdOV9oE7381Q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JjIcmRLO8oghGxA1G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zn5EQTQm1Azuqsjjlqw"/>
</p:tagLst>
</file>

<file path=ppt/theme/theme1.xml><?xml version="1.0" encoding="utf-8"?>
<a:theme xmlns:a="http://schemas.openxmlformats.org/drawingml/2006/main" name="LGBS_Template_16x9">
  <a:themeElements>
    <a:clrScheme name="LHG_LGBS_2018">
      <a:dk1>
        <a:srgbClr val="333333"/>
      </a:dk1>
      <a:lt1>
        <a:srgbClr val="FFFFFF"/>
      </a:lt1>
      <a:dk2>
        <a:srgbClr val="05164D"/>
      </a:dk2>
      <a:lt2>
        <a:srgbClr val="F4F4F4"/>
      </a:lt2>
      <a:accent1>
        <a:srgbClr val="05164D"/>
      </a:accent1>
      <a:accent2>
        <a:srgbClr val="787878"/>
      </a:accent2>
      <a:accent3>
        <a:srgbClr val="CCCCCC"/>
      </a:accent3>
      <a:accent4>
        <a:srgbClr val="FFAD00"/>
      </a:accent4>
      <a:accent5>
        <a:srgbClr val="E6E6E6"/>
      </a:accent5>
      <a:accent6>
        <a:srgbClr val="F4F4F4"/>
      </a:accent6>
      <a:hlink>
        <a:srgbClr val="787878"/>
      </a:hlink>
      <a:folHlink>
        <a:srgbClr val="CCCCCC"/>
      </a:folHlink>
    </a:clrScheme>
    <a:fontScheme name="LHG_LGBS_2018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ew PowerPoint English Template" id="{B32F43BD-86EA-4ED4-B121-766BC761D3FD}" vid="{D73F391F-7921-41AF-9737-5AE064C2CEFD}"/>
    </a:ext>
  </a:extLst>
</a:theme>
</file>

<file path=ppt/theme/theme2.xml><?xml version="1.0" encoding="utf-8"?>
<a:theme xmlns:a="http://schemas.openxmlformats.org/drawingml/2006/main" name="Office">
  <a:themeElements>
    <a:clrScheme name="LHG_LGBS_2018">
      <a:dk1>
        <a:srgbClr val="333333"/>
      </a:dk1>
      <a:lt1>
        <a:srgbClr val="FFFFFF"/>
      </a:lt1>
      <a:dk2>
        <a:srgbClr val="05164D"/>
      </a:dk2>
      <a:lt2>
        <a:srgbClr val="F4F4F4"/>
      </a:lt2>
      <a:accent1>
        <a:srgbClr val="05164D"/>
      </a:accent1>
      <a:accent2>
        <a:srgbClr val="787878"/>
      </a:accent2>
      <a:accent3>
        <a:srgbClr val="CCCCCC"/>
      </a:accent3>
      <a:accent4>
        <a:srgbClr val="FFAD00"/>
      </a:accent4>
      <a:accent5>
        <a:srgbClr val="E6E6E6"/>
      </a:accent5>
      <a:accent6>
        <a:srgbClr val="F4F4F4"/>
      </a:accent6>
      <a:hlink>
        <a:srgbClr val="787878"/>
      </a:hlink>
      <a:folHlink>
        <a:srgbClr val="CCCCCC"/>
      </a:folHlink>
    </a:clrScheme>
    <a:fontScheme name="LHG_LGBS_2018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DA1AC37D3FE948A5E7A11F3BAF8065" ma:contentTypeVersion="9" ma:contentTypeDescription="Create a new document." ma:contentTypeScope="" ma:versionID="c65f01ffd1617172eea9b4e1956f49ce">
  <xsd:schema xmlns:xsd="http://www.w3.org/2001/XMLSchema" xmlns:xs="http://www.w3.org/2001/XMLSchema" xmlns:p="http://schemas.microsoft.com/office/2006/metadata/properties" xmlns:ns2="2a20ed6b-cbfc-43aa-a8b6-50fe23a6df83" xmlns:ns3="94793d75-6218-4534-9290-a335a8d30e27" targetNamespace="http://schemas.microsoft.com/office/2006/metadata/properties" ma:root="true" ma:fieldsID="c94d77893fd2960e66a5f497b4fda881" ns2:_="" ns3:_="">
    <xsd:import namespace="2a20ed6b-cbfc-43aa-a8b6-50fe23a6df83"/>
    <xsd:import namespace="94793d75-6218-4534-9290-a335a8d30e2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20ed6b-cbfc-43aa-a8b6-50fe23a6df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793d75-6218-4534-9290-a335a8d30e2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65BEEFD-35A8-45D0-AEE4-A1B9A990C8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20ed6b-cbfc-43aa-a8b6-50fe23a6df83"/>
    <ds:schemaRef ds:uri="94793d75-6218-4534-9290-a335a8d30e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149400-0C63-461F-930B-25ED9345E5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631078-5E8C-4315-B30A-FC0B4610B7FE}">
  <ds:schemaRefs>
    <ds:schemaRef ds:uri="http://schemas.openxmlformats.org/package/2006/metadata/core-properties"/>
    <ds:schemaRef ds:uri="http://schemas.microsoft.com/office/2006/documentManagement/types"/>
    <ds:schemaRef ds:uri="2a20ed6b-cbfc-43aa-a8b6-50fe23a6df83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94793d75-6218-4534-9290-a335a8d30e2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ew PowerPoint English Template</Template>
  <TotalTime>0</TotalTime>
  <Words>186</Words>
  <Application>Microsoft Office PowerPoint</Application>
  <PresentationFormat>Bildschirmpräsentation (16:9)</PresentationFormat>
  <Paragraphs>29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Lufthansa Office Head</vt:lpstr>
      <vt:lpstr>Lufthansa Office Text</vt:lpstr>
      <vt:lpstr>Wingdings</vt:lpstr>
      <vt:lpstr>LGBS_Template_16x9</vt:lpstr>
      <vt:lpstr>think-cell Folie</vt:lpstr>
      <vt:lpstr>Module 3:  International Tourism Management, Intercultural and Innovation Management  </vt:lpstr>
      <vt:lpstr>An innovation network boosts your mind</vt:lpstr>
      <vt:lpstr>What kind of INTERNAL innovation network platforms can you think of or are established in your company?</vt:lpstr>
      <vt:lpstr>What kind of EXTERNAL innovation network platforms do you know or participate i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ufthansa Office Head 70</dc:title>
  <dc:creator>KOCH, CHRISTINA</dc:creator>
  <cp:lastModifiedBy>KOCH, CHRISTINA</cp:lastModifiedBy>
  <cp:revision>85</cp:revision>
  <cp:lastPrinted>2020-09-14T07:54:43Z</cp:lastPrinted>
  <dcterms:created xsi:type="dcterms:W3CDTF">2020-06-23T13:35:50Z</dcterms:created>
  <dcterms:modified xsi:type="dcterms:W3CDTF">2020-09-14T07:5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DA1AC37D3FE948A5E7A11F3BAF8065</vt:lpwstr>
  </property>
</Properties>
</file>